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1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2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7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9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sldIdLst>
    <p:sldId id="1188" r:id="rId2"/>
    <p:sldId id="1179" r:id="rId3"/>
    <p:sldId id="1243" r:id="rId4"/>
    <p:sldId id="1181" r:id="rId5"/>
    <p:sldId id="1192" r:id="rId6"/>
    <p:sldId id="1209" r:id="rId7"/>
    <p:sldId id="1180" r:id="rId8"/>
    <p:sldId id="1231" r:id="rId9"/>
    <p:sldId id="1236" r:id="rId10"/>
    <p:sldId id="1239" r:id="rId11"/>
    <p:sldId id="1240" r:id="rId12"/>
    <p:sldId id="1241" r:id="rId13"/>
    <p:sldId id="1242" r:id="rId14"/>
    <p:sldId id="1184" r:id="rId15"/>
    <p:sldId id="1207" r:id="rId16"/>
    <p:sldId id="1208" r:id="rId17"/>
    <p:sldId id="1193" r:id="rId18"/>
    <p:sldId id="1201" r:id="rId19"/>
    <p:sldId id="1185" r:id="rId20"/>
    <p:sldId id="1253" r:id="rId21"/>
    <p:sldId id="1255" r:id="rId22"/>
    <p:sldId id="1258" r:id="rId23"/>
    <p:sldId id="1262" r:id="rId24"/>
    <p:sldId id="1263" r:id="rId25"/>
    <p:sldId id="1264" r:id="rId26"/>
  </p:sldIdLst>
  <p:sldSz cx="12192000" cy="6858000"/>
  <p:notesSz cx="6858000" cy="9144000"/>
  <p:custDataLst>
    <p:tags r:id="rId2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D1D9"/>
    <a:srgbClr val="F797B0"/>
    <a:srgbClr val="E8EAED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7" autoAdjust="0"/>
    <p:restoredTop sz="96327" autoAdjust="0"/>
  </p:normalViewPr>
  <p:slideViewPr>
    <p:cSldViewPr snapToGrid="0">
      <p:cViewPr varScale="1">
        <p:scale>
          <a:sx n="66" d="100"/>
          <a:sy n="66" d="100"/>
        </p:scale>
        <p:origin x="798" y="5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.03.202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Kypr</c:v>
                </c:pt>
                <c:pt idx="1">
                  <c:v>Rakousko</c:v>
                </c:pt>
                <c:pt idx="2">
                  <c:v>Německo</c:v>
                </c:pt>
                <c:pt idx="3">
                  <c:v>Island</c:v>
                </c:pt>
                <c:pt idx="4">
                  <c:v>Lucembursko</c:v>
                </c:pt>
                <c:pt idx="5">
                  <c:v>Lichtenštejnsko</c:v>
                </c:pt>
                <c:pt idx="6">
                  <c:v>Francie</c:v>
                </c:pt>
                <c:pt idx="7">
                  <c:v>Řecko</c:v>
                </c:pt>
                <c:pt idx="8">
                  <c:v>Nizozemsko</c:v>
                </c:pt>
                <c:pt idx="9">
                  <c:v>Slovensko</c:v>
                </c:pt>
                <c:pt idx="10">
                  <c:v>Slovinsko</c:v>
                </c:pt>
                <c:pt idx="11">
                  <c:v>Irsko</c:v>
                </c:pt>
                <c:pt idx="12">
                  <c:v>Velká Británie</c:v>
                </c:pt>
                <c:pt idx="13">
                  <c:v>Lotyšsko</c:v>
                </c:pt>
                <c:pt idx="14">
                  <c:v>Itálie</c:v>
                </c:pt>
                <c:pt idx="15">
                  <c:v>Litva</c:v>
                </c:pt>
                <c:pt idx="16">
                  <c:v>Finsko</c:v>
                </c:pt>
                <c:pt idx="17">
                  <c:v>Malta</c:v>
                </c:pt>
                <c:pt idx="18">
                  <c:v>Portugalsko</c:v>
                </c:pt>
                <c:pt idx="19">
                  <c:v>Belgie</c:v>
                </c:pt>
                <c:pt idx="20">
                  <c:v>Estonsko</c:v>
                </c:pt>
                <c:pt idx="21">
                  <c:v>Dánsko</c:v>
                </c:pt>
                <c:pt idx="22">
                  <c:v>Česká republika</c:v>
                </c:pt>
                <c:pt idx="23">
                  <c:v>Norsko</c:v>
                </c:pt>
                <c:pt idx="24">
                  <c:v>Chorvatsko</c:v>
                </c:pt>
                <c:pt idx="25">
                  <c:v>Španělsko</c:v>
                </c:pt>
                <c:pt idx="26">
                  <c:v>Maďarsko</c:v>
                </c:pt>
                <c:pt idx="27">
                  <c:v>Bulharsko</c:v>
                </c:pt>
                <c:pt idx="28">
                  <c:v>Rumunsko</c:v>
                </c:pt>
                <c:pt idx="29">
                  <c:v>Polsko</c:v>
                </c:pt>
                <c:pt idx="30">
                  <c:v>Švéd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5018.8906593994398</c:v>
                </c:pt>
                <c:pt idx="1">
                  <c:v>6928.6660561029557</c:v>
                </c:pt>
                <c:pt idx="2">
                  <c:v>3564.5163363500092</c:v>
                </c:pt>
                <c:pt idx="3">
                  <c:v>8204.9465306727743</c:v>
                </c:pt>
                <c:pt idx="4">
                  <c:v>2220.7031374778794</c:v>
                </c:pt>
                <c:pt idx="5">
                  <c:v>5824.9670942266494</c:v>
                </c:pt>
                <c:pt idx="6">
                  <c:v>1558.4783625768521</c:v>
                </c:pt>
                <c:pt idx="7">
                  <c:v>2629.6430538976069</c:v>
                </c:pt>
                <c:pt idx="8">
                  <c:v>4617.9352276608161</c:v>
                </c:pt>
                <c:pt idx="9">
                  <c:v>2548.5385973620123</c:v>
                </c:pt>
                <c:pt idx="10">
                  <c:v>1597.7204595152066</c:v>
                </c:pt>
                <c:pt idx="11">
                  <c:v>1365.5719476919855</c:v>
                </c:pt>
                <c:pt idx="12">
                  <c:v>1415.1967952095349</c:v>
                </c:pt>
                <c:pt idx="13">
                  <c:v>3643.0733746576329</c:v>
                </c:pt>
                <c:pt idx="14">
                  <c:v>1401.0901270605455</c:v>
                </c:pt>
                <c:pt idx="15">
                  <c:v>2524.1133964904498</c:v>
                </c:pt>
                <c:pt idx="16">
                  <c:v>1740.1071291797791</c:v>
                </c:pt>
                <c:pt idx="17">
                  <c:v>508.97458819505442</c:v>
                </c:pt>
                <c:pt idx="18">
                  <c:v>1508.1038497912132</c:v>
                </c:pt>
                <c:pt idx="19">
                  <c:v>1119.9971533807077</c:v>
                </c:pt>
                <c:pt idx="20">
                  <c:v>1952.6311987575398</c:v>
                </c:pt>
                <c:pt idx="21">
                  <c:v>2126.7566617428874</c:v>
                </c:pt>
                <c:pt idx="22">
                  <c:v>1008.5245483446278</c:v>
                </c:pt>
                <c:pt idx="23">
                  <c:v>1279.980922501388</c:v>
                </c:pt>
                <c:pt idx="24">
                  <c:v>497.36765262132019</c:v>
                </c:pt>
                <c:pt idx="25">
                  <c:v>471.70435167599237</c:v>
                </c:pt>
                <c:pt idx="26">
                  <c:v>245.96894465504261</c:v>
                </c:pt>
                <c:pt idx="27">
                  <c:v>329.46931316228682</c:v>
                </c:pt>
                <c:pt idx="28">
                  <c:v>231.28653672817788</c:v>
                </c:pt>
                <c:pt idx="29">
                  <c:v>389.81627602491989</c:v>
                </c:pt>
                <c:pt idx="30">
                  <c:v>180.14853224697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03.04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Kypr</c:v>
                </c:pt>
                <c:pt idx="1">
                  <c:v>Rakousko</c:v>
                </c:pt>
                <c:pt idx="2">
                  <c:v>Německo</c:v>
                </c:pt>
                <c:pt idx="3">
                  <c:v>Island</c:v>
                </c:pt>
                <c:pt idx="4">
                  <c:v>Lucembursko</c:v>
                </c:pt>
                <c:pt idx="5">
                  <c:v>Lichtenštejnsko</c:v>
                </c:pt>
                <c:pt idx="6">
                  <c:v>Francie</c:v>
                </c:pt>
                <c:pt idx="7">
                  <c:v>Řecko</c:v>
                </c:pt>
                <c:pt idx="8">
                  <c:v>Nizozemsko</c:v>
                </c:pt>
                <c:pt idx="9">
                  <c:v>Slovensko</c:v>
                </c:pt>
                <c:pt idx="10">
                  <c:v>Slovinsko</c:v>
                </c:pt>
                <c:pt idx="11">
                  <c:v>Irsko</c:v>
                </c:pt>
                <c:pt idx="12">
                  <c:v>Velká Británie</c:v>
                </c:pt>
                <c:pt idx="13">
                  <c:v>Lotyšsko</c:v>
                </c:pt>
                <c:pt idx="14">
                  <c:v>Itálie</c:v>
                </c:pt>
                <c:pt idx="15">
                  <c:v>Litva</c:v>
                </c:pt>
                <c:pt idx="16">
                  <c:v>Finsko</c:v>
                </c:pt>
                <c:pt idx="17">
                  <c:v>Malta</c:v>
                </c:pt>
                <c:pt idx="18">
                  <c:v>Portugalsko</c:v>
                </c:pt>
                <c:pt idx="19">
                  <c:v>Belgie</c:v>
                </c:pt>
                <c:pt idx="20">
                  <c:v>Estonsko</c:v>
                </c:pt>
                <c:pt idx="21">
                  <c:v>Dánsko</c:v>
                </c:pt>
                <c:pt idx="22">
                  <c:v>Česká republika</c:v>
                </c:pt>
                <c:pt idx="23">
                  <c:v>Norsko</c:v>
                </c:pt>
                <c:pt idx="24">
                  <c:v>Chorvatsko</c:v>
                </c:pt>
                <c:pt idx="25">
                  <c:v>Španělsko</c:v>
                </c:pt>
                <c:pt idx="26">
                  <c:v>Maďarsko</c:v>
                </c:pt>
                <c:pt idx="27">
                  <c:v>Bulharsko</c:v>
                </c:pt>
                <c:pt idx="28">
                  <c:v>Rumunsko</c:v>
                </c:pt>
                <c:pt idx="29">
                  <c:v>Polsko</c:v>
                </c:pt>
                <c:pt idx="30">
                  <c:v>Švéd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6649.061660688847</c:v>
                </c:pt>
                <c:pt idx="1">
                  <c:v>4507.9442188035055</c:v>
                </c:pt>
                <c:pt idx="2">
                  <c:v>3413.792569000354</c:v>
                </c:pt>
                <c:pt idx="3">
                  <c:v>3027.4569251978669</c:v>
                </c:pt>
                <c:pt idx="4">
                  <c:v>2895.6665623183221</c:v>
                </c:pt>
                <c:pt idx="5">
                  <c:v>2833.7677755697214</c:v>
                </c:pt>
                <c:pt idx="6">
                  <c:v>2735.9745845141078</c:v>
                </c:pt>
                <c:pt idx="7">
                  <c:v>2678.1476811494822</c:v>
                </c:pt>
                <c:pt idx="8">
                  <c:v>2291.7595978994214</c:v>
                </c:pt>
                <c:pt idx="9">
                  <c:v>1806.4912833259405</c:v>
                </c:pt>
                <c:pt idx="10">
                  <c:v>1741.4322800987279</c:v>
                </c:pt>
                <c:pt idx="11">
                  <c:v>1702.2866627454457</c:v>
                </c:pt>
                <c:pt idx="12">
                  <c:v>1691.4506571957102</c:v>
                </c:pt>
                <c:pt idx="13">
                  <c:v>1651.0149789665431</c:v>
                </c:pt>
                <c:pt idx="14">
                  <c:v>1649.9789542474191</c:v>
                </c:pt>
                <c:pt idx="15">
                  <c:v>1605.5674656149229</c:v>
                </c:pt>
                <c:pt idx="16">
                  <c:v>1579.8984017496271</c:v>
                </c:pt>
                <c:pt idx="17">
                  <c:v>1376.1164791940362</c:v>
                </c:pt>
                <c:pt idx="18">
                  <c:v>1316.6880165704649</c:v>
                </c:pt>
                <c:pt idx="19">
                  <c:v>1285.8821569042668</c:v>
                </c:pt>
                <c:pt idx="20">
                  <c:v>1208.5244579285104</c:v>
                </c:pt>
                <c:pt idx="21">
                  <c:v>937.75068640094059</c:v>
                </c:pt>
                <c:pt idx="22">
                  <c:v>856.81244301094284</c:v>
                </c:pt>
                <c:pt idx="23">
                  <c:v>488.227469362357</c:v>
                </c:pt>
                <c:pt idx="24">
                  <c:v>461.24295093964878</c:v>
                </c:pt>
                <c:pt idx="25">
                  <c:v>332.13039955917077</c:v>
                </c:pt>
                <c:pt idx="26">
                  <c:v>293.82182922692465</c:v>
                </c:pt>
                <c:pt idx="27">
                  <c:v>240.79757381231798</c:v>
                </c:pt>
                <c:pt idx="28">
                  <c:v>215.06207460582991</c:v>
                </c:pt>
                <c:pt idx="29">
                  <c:v>202.07787853029038</c:v>
                </c:pt>
                <c:pt idx="30">
                  <c:v>116.14521065855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Polsko</c:v>
                </c:pt>
                <c:pt idx="4">
                  <c:v>Chorvatsko</c:v>
                </c:pt>
                <c:pt idx="5">
                  <c:v>Itálie</c:v>
                </c:pt>
                <c:pt idx="6">
                  <c:v>Česká republika</c:v>
                </c:pt>
                <c:pt idx="7">
                  <c:v>Řecko</c:v>
                </c:pt>
                <c:pt idx="8">
                  <c:v>Španělsko</c:v>
                </c:pt>
                <c:pt idx="9">
                  <c:v>Slovensko</c:v>
                </c:pt>
                <c:pt idx="10">
                  <c:v>Malta</c:v>
                </c:pt>
                <c:pt idx="11">
                  <c:v>Belgie</c:v>
                </c:pt>
                <c:pt idx="12">
                  <c:v>Lotyšsko</c:v>
                </c:pt>
                <c:pt idx="13">
                  <c:v>Slovinsko</c:v>
                </c:pt>
                <c:pt idx="14">
                  <c:v>Švédsko</c:v>
                </c:pt>
                <c:pt idx="15">
                  <c:v>Litva</c:v>
                </c:pt>
                <c:pt idx="16">
                  <c:v>Francie</c:v>
                </c:pt>
                <c:pt idx="17">
                  <c:v>Portugalsko</c:v>
                </c:pt>
                <c:pt idx="18">
                  <c:v>Německo</c:v>
                </c:pt>
                <c:pt idx="19">
                  <c:v>Lichtenštejnsko</c:v>
                </c:pt>
                <c:pt idx="20">
                  <c:v>Irsko</c:v>
                </c:pt>
                <c:pt idx="21">
                  <c:v>Lucembursko</c:v>
                </c:pt>
                <c:pt idx="22">
                  <c:v>Estonsko</c:v>
                </c:pt>
                <c:pt idx="23">
                  <c:v>Rakousko</c:v>
                </c:pt>
                <c:pt idx="24">
                  <c:v>Finsko</c:v>
                </c:pt>
                <c:pt idx="25">
                  <c:v>Nizozem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3.2061821048302734E-2</c:v>
                </c:pt>
                <c:pt idx="1">
                  <c:v>2.3878875394493182E-2</c:v>
                </c:pt>
                <c:pt idx="2">
                  <c:v>2.1911782338929483E-2</c:v>
                </c:pt>
                <c:pt idx="3">
                  <c:v>1.9356710013336709E-2</c:v>
                </c:pt>
                <c:pt idx="4">
                  <c:v>1.4147705271405421E-2</c:v>
                </c:pt>
                <c:pt idx="5">
                  <c:v>1.0762898500351782E-2</c:v>
                </c:pt>
                <c:pt idx="6">
                  <c:v>1.0367756457616615E-2</c:v>
                </c:pt>
                <c:pt idx="7">
                  <c:v>8.9952820246761451E-3</c:v>
                </c:pt>
                <c:pt idx="8">
                  <c:v>8.8391374431059187E-3</c:v>
                </c:pt>
                <c:pt idx="9">
                  <c:v>8.7632778986885731E-3</c:v>
                </c:pt>
                <c:pt idx="10">
                  <c:v>7.8560660841003518E-3</c:v>
                </c:pt>
                <c:pt idx="11">
                  <c:v>7.8448901243109784E-3</c:v>
                </c:pt>
                <c:pt idx="12">
                  <c:v>7.7380092008792175E-3</c:v>
                </c:pt>
                <c:pt idx="13">
                  <c:v>7.6177754249025847E-3</c:v>
                </c:pt>
                <c:pt idx="14">
                  <c:v>7.3789489706701534E-3</c:v>
                </c:pt>
                <c:pt idx="15">
                  <c:v>6.6567126125875314E-3</c:v>
                </c:pt>
                <c:pt idx="16">
                  <c:v>6.0249577257477441E-3</c:v>
                </c:pt>
                <c:pt idx="17">
                  <c:v>6.0041547086054498E-3</c:v>
                </c:pt>
                <c:pt idx="18">
                  <c:v>5.9863911442492113E-3</c:v>
                </c:pt>
                <c:pt idx="19">
                  <c:v>4.9276067648132372E-3</c:v>
                </c:pt>
                <c:pt idx="20">
                  <c:v>4.5998952042737131E-3</c:v>
                </c:pt>
                <c:pt idx="21">
                  <c:v>4.544014920908627E-3</c:v>
                </c:pt>
                <c:pt idx="22">
                  <c:v>4.2953242170269074E-3</c:v>
                </c:pt>
                <c:pt idx="23">
                  <c:v>4.053129081373107E-3</c:v>
                </c:pt>
                <c:pt idx="24">
                  <c:v>3.5964623366173802E-3</c:v>
                </c:pt>
                <c:pt idx="25">
                  <c:v>2.7828552451315837E-3</c:v>
                </c:pt>
                <c:pt idx="26">
                  <c:v>2.4219824611911582E-3</c:v>
                </c:pt>
                <c:pt idx="27">
                  <c:v>1.896088406255532E-3</c:v>
                </c:pt>
                <c:pt idx="28">
                  <c:v>1.8864998385461813E-3</c:v>
                </c:pt>
                <c:pt idx="29">
                  <c:v>5.5534478113367309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Francie</c:v>
                </c:pt>
                <c:pt idx="2">
                  <c:v>Portugalsko</c:v>
                </c:pt>
                <c:pt idx="3">
                  <c:v>Malta</c:v>
                </c:pt>
                <c:pt idx="4">
                  <c:v>Island</c:v>
                </c:pt>
                <c:pt idx="5">
                  <c:v>Dánsko</c:v>
                </c:pt>
                <c:pt idx="6">
                  <c:v>Norsko</c:v>
                </c:pt>
                <c:pt idx="7">
                  <c:v>Německo</c:v>
                </c:pt>
                <c:pt idx="8">
                  <c:v>Belgie</c:v>
                </c:pt>
                <c:pt idx="9">
                  <c:v>Finsko</c:v>
                </c:pt>
                <c:pt idx="10">
                  <c:v>Švédsko</c:v>
                </c:pt>
                <c:pt idx="11">
                  <c:v>Kypr</c:v>
                </c:pt>
                <c:pt idx="12">
                  <c:v>Itálie</c:v>
                </c:pt>
                <c:pt idx="13">
                  <c:v>Španělsko</c:v>
                </c:pt>
                <c:pt idx="14">
                  <c:v>Rakousko</c:v>
                </c:pt>
                <c:pt idx="15">
                  <c:v>Lucembursko</c:v>
                </c:pt>
                <c:pt idx="16">
                  <c:v>Nizozemsko</c:v>
                </c:pt>
                <c:pt idx="17">
                  <c:v>Řecko</c:v>
                </c:pt>
                <c:pt idx="18">
                  <c:v>Litva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699999999999995</c:v>
                </c:pt>
                <c:pt idx="1">
                  <c:v>0.94599999999999995</c:v>
                </c:pt>
                <c:pt idx="2">
                  <c:v>0.94399999999999995</c:v>
                </c:pt>
                <c:pt idx="3">
                  <c:v>0.94</c:v>
                </c:pt>
                <c:pt idx="4">
                  <c:v>0.92400000000000004</c:v>
                </c:pt>
                <c:pt idx="5">
                  <c:v>0.92300000000000004</c:v>
                </c:pt>
                <c:pt idx="6">
                  <c:v>0.91800000000000004</c:v>
                </c:pt>
                <c:pt idx="7">
                  <c:v>0.90900000000000003</c:v>
                </c:pt>
                <c:pt idx="8">
                  <c:v>0.89</c:v>
                </c:pt>
                <c:pt idx="9">
                  <c:v>0.88700000000000001</c:v>
                </c:pt>
                <c:pt idx="10">
                  <c:v>0.873</c:v>
                </c:pt>
                <c:pt idx="11">
                  <c:v>0.86899999999999999</c:v>
                </c:pt>
                <c:pt idx="12">
                  <c:v>0.86799999999999999</c:v>
                </c:pt>
                <c:pt idx="13">
                  <c:v>0.86199999999999999</c:v>
                </c:pt>
                <c:pt idx="14">
                  <c:v>0.83299999999999996</c:v>
                </c:pt>
                <c:pt idx="15">
                  <c:v>0.83099999999999996</c:v>
                </c:pt>
                <c:pt idx="16">
                  <c:v>0.82699999999999996</c:v>
                </c:pt>
                <c:pt idx="17">
                  <c:v>0.81799999999999995</c:v>
                </c:pt>
                <c:pt idx="18">
                  <c:v>0.79100000000000004</c:v>
                </c:pt>
                <c:pt idx="19">
                  <c:v>0.77700000000000002</c:v>
                </c:pt>
                <c:pt idx="20">
                  <c:v>0.77100000000000002</c:v>
                </c:pt>
                <c:pt idx="21">
                  <c:v>0.74299999999999999</c:v>
                </c:pt>
                <c:pt idx="22">
                  <c:v>0.73099999999999998</c:v>
                </c:pt>
                <c:pt idx="23">
                  <c:v>0.71</c:v>
                </c:pt>
                <c:pt idx="24">
                  <c:v>0.67700000000000005</c:v>
                </c:pt>
                <c:pt idx="25">
                  <c:v>0.66200000000000003</c:v>
                </c:pt>
                <c:pt idx="26">
                  <c:v>0.65600000000000003</c:v>
                </c:pt>
                <c:pt idx="27">
                  <c:v>0.59899999999999998</c:v>
                </c:pt>
                <c:pt idx="28">
                  <c:v>0.5</c:v>
                </c:pt>
                <c:pt idx="29">
                  <c:v>0.35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Francie</c:v>
                </c:pt>
                <c:pt idx="1">
                  <c:v>Island</c:v>
                </c:pt>
                <c:pt idx="2">
                  <c:v>Malta</c:v>
                </c:pt>
                <c:pt idx="3">
                  <c:v>Dánsko</c:v>
                </c:pt>
                <c:pt idx="4">
                  <c:v>Irsko</c:v>
                </c:pt>
                <c:pt idx="5">
                  <c:v>Belgie</c:v>
                </c:pt>
                <c:pt idx="6">
                  <c:v>Itálie</c:v>
                </c:pt>
                <c:pt idx="7">
                  <c:v>Portugalsko</c:v>
                </c:pt>
                <c:pt idx="8">
                  <c:v>Německo</c:v>
                </c:pt>
                <c:pt idx="9">
                  <c:v>Norsko</c:v>
                </c:pt>
                <c:pt idx="10">
                  <c:v>Rakousko</c:v>
                </c:pt>
                <c:pt idx="11">
                  <c:v>Lucembursko</c:v>
                </c:pt>
                <c:pt idx="12">
                  <c:v>Nizozemsko</c:v>
                </c:pt>
                <c:pt idx="13">
                  <c:v>Finsko</c:v>
                </c:pt>
                <c:pt idx="14">
                  <c:v>Švédsko</c:v>
                </c:pt>
                <c:pt idx="15">
                  <c:v>Řecko</c:v>
                </c:pt>
                <c:pt idx="16">
                  <c:v>Kypr</c:v>
                </c:pt>
                <c:pt idx="17">
                  <c:v>Španělsko</c:v>
                </c:pt>
                <c:pt idx="18">
                  <c:v>Lichtenštejnsko</c:v>
                </c:pt>
                <c:pt idx="19">
                  <c:v>Maďarsko</c:v>
                </c:pt>
                <c:pt idx="20">
                  <c:v>Česká republika</c:v>
                </c:pt>
                <c:pt idx="21">
                  <c:v>Estonsko</c:v>
                </c:pt>
                <c:pt idx="22">
                  <c:v>Litva</c:v>
                </c:pt>
                <c:pt idx="23">
                  <c:v>Polsko</c:v>
                </c:pt>
                <c:pt idx="24">
                  <c:v>Slovinsko</c:v>
                </c:pt>
                <c:pt idx="25">
                  <c:v>Slovensko</c:v>
                </c:pt>
                <c:pt idx="26">
                  <c:v>Lotyšsko</c:v>
                </c:pt>
                <c:pt idx="27">
                  <c:v>Chorvat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88200000000000001</c:v>
                </c:pt>
                <c:pt idx="1">
                  <c:v>0.86</c:v>
                </c:pt>
                <c:pt idx="2">
                  <c:v>0.79700000000000004</c:v>
                </c:pt>
                <c:pt idx="3">
                  <c:v>0.77400000000000002</c:v>
                </c:pt>
                <c:pt idx="4">
                  <c:v>0.75900000000000001</c:v>
                </c:pt>
                <c:pt idx="5">
                  <c:v>0.75</c:v>
                </c:pt>
                <c:pt idx="6">
                  <c:v>0.745</c:v>
                </c:pt>
                <c:pt idx="7">
                  <c:v>0.73699999999999999</c:v>
                </c:pt>
                <c:pt idx="8">
                  <c:v>0.70299999999999996</c:v>
                </c:pt>
                <c:pt idx="9">
                  <c:v>0.68600000000000005</c:v>
                </c:pt>
                <c:pt idx="10">
                  <c:v>0.67600000000000005</c:v>
                </c:pt>
                <c:pt idx="11">
                  <c:v>0.67100000000000004</c:v>
                </c:pt>
                <c:pt idx="12">
                  <c:v>0.65400000000000003</c:v>
                </c:pt>
                <c:pt idx="13">
                  <c:v>0.64200000000000002</c:v>
                </c:pt>
                <c:pt idx="14">
                  <c:v>0.63900000000000001</c:v>
                </c:pt>
                <c:pt idx="15">
                  <c:v>0.63800000000000001</c:v>
                </c:pt>
                <c:pt idx="16">
                  <c:v>0.63</c:v>
                </c:pt>
                <c:pt idx="17">
                  <c:v>0.629</c:v>
                </c:pt>
                <c:pt idx="18">
                  <c:v>0.56200000000000006</c:v>
                </c:pt>
                <c:pt idx="19">
                  <c:v>0.46700000000000003</c:v>
                </c:pt>
                <c:pt idx="20">
                  <c:v>0.46600000000000003</c:v>
                </c:pt>
                <c:pt idx="21">
                  <c:v>0.41199999999999998</c:v>
                </c:pt>
                <c:pt idx="22">
                  <c:v>0.38300000000000001</c:v>
                </c:pt>
                <c:pt idx="23">
                  <c:v>0.372</c:v>
                </c:pt>
                <c:pt idx="24">
                  <c:v>0.36899999999999999</c:v>
                </c:pt>
                <c:pt idx="25">
                  <c:v>0.36799999999999999</c:v>
                </c:pt>
                <c:pt idx="26">
                  <c:v>0.33300000000000002</c:v>
                </c:pt>
                <c:pt idx="27">
                  <c:v>0.26200000000000001</c:v>
                </c:pt>
                <c:pt idx="28">
                  <c:v>0.125</c:v>
                </c:pt>
                <c:pt idx="29">
                  <c:v>0.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56525839482095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75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7600000000000005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32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125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5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26200000000000001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56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5096810823816598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63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68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6600000000000003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023962857688971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77400000000000002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196545869262337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41199999999999998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30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758208085816809E-2"/>
                  <c:y val="-4.666372721928277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64200000000000002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87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051377057258783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88200000000000001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945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70299999999999996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909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95552404790468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63800000000000001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817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6700000000000003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86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75900000000000001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286409019268361E-2"/>
                  <c:y val="1.333425191064077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745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6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33300000000000002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71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56200000000000006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7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8300000000000001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91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28891188672612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67100000000000004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830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9332452914033097E-3"/>
                  <c:y val="-2.998052616108182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79700000000000004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691117662001338E-2"/>
                  <c:y val="3.733098177542622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65400000000000003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1401988586471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68600000000000005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1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372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62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73699999999999999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43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108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799999999999999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916619100433179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36899999999999999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7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0053402661858606E-2"/>
                  <c:y val="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629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6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137166371490727E-2"/>
                  <c:y val="-2.566504997060552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63900000000000001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General</c:formatCode>
                <c:ptCount val="40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8.2336032993012</c:v>
                </c:pt>
                <c:pt idx="28">
                  <c:v>3077.8463589309208</c:v>
                </c:pt>
                <c:pt idx="29">
                  <c:v>4777.3388275400002</c:v>
                </c:pt>
                <c:pt idx="30">
                  <c:v>5819.0799865306308</c:v>
                </c:pt>
                <c:pt idx="31">
                  <c:v>4380.3135447006016</c:v>
                </c:pt>
                <c:pt idx="32">
                  <c:v>2495.973075147278</c:v>
                </c:pt>
                <c:pt idx="33">
                  <c:v>1430.7733431460699</c:v>
                </c:pt>
                <c:pt idx="34">
                  <c:v>936.84150232068907</c:v>
                </c:pt>
                <c:pt idx="35">
                  <c:v>775.56489771263728</c:v>
                </c:pt>
                <c:pt idx="36">
                  <c:v>883.02477600230509</c:v>
                </c:pt>
                <c:pt idx="37">
                  <c:v>1119.9971533807077</c:v>
                </c:pt>
                <c:pt idx="38">
                  <c:v>1305.053443541472</c:v>
                </c:pt>
                <c:pt idx="39">
                  <c:v>1285.8821569042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235724086325</c:v>
                </c:pt>
                <c:pt idx="22">
                  <c:v>2272.8481993398318</c:v>
                </c:pt>
                <c:pt idx="23">
                  <c:v>1922.9116605209738</c:v>
                </c:pt>
                <c:pt idx="24">
                  <c:v>1492.7708115784089</c:v>
                </c:pt>
                <c:pt idx="25">
                  <c:v>1020.0357417411863</c:v>
                </c:pt>
                <c:pt idx="26">
                  <c:v>715.71382630852861</c:v>
                </c:pt>
                <c:pt idx="27">
                  <c:v>774.77531899143992</c:v>
                </c:pt>
                <c:pt idx="28">
                  <c:v>1118.7832659228745</c:v>
                </c:pt>
                <c:pt idx="29">
                  <c:v>2172.6419049145502</c:v>
                </c:pt>
                <c:pt idx="30">
                  <c:v>3822.1183045835592</c:v>
                </c:pt>
                <c:pt idx="31">
                  <c:v>4476.4235142915995</c:v>
                </c:pt>
                <c:pt idx="32">
                  <c:v>3638.4348180777915</c:v>
                </c:pt>
                <c:pt idx="33">
                  <c:v>2487.5025002480374</c:v>
                </c:pt>
                <c:pt idx="34">
                  <c:v>1622.5733099842817</c:v>
                </c:pt>
                <c:pt idx="35">
                  <c:v>1133.2961596283651</c:v>
                </c:pt>
                <c:pt idx="36">
                  <c:v>1010.5817884317463</c:v>
                </c:pt>
                <c:pt idx="37">
                  <c:v>1008.5245483446278</c:v>
                </c:pt>
                <c:pt idx="38">
                  <c:v>970.93316129818959</c:v>
                </c:pt>
                <c:pt idx="39">
                  <c:v>856.81244301094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General</c:formatCode>
                <c:ptCount val="40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4.1983525424221</c:v>
                </c:pt>
                <c:pt idx="31">
                  <c:v>6198.2183776712782</c:v>
                </c:pt>
                <c:pt idx="32">
                  <c:v>4122.4095299991313</c:v>
                </c:pt>
                <c:pt idx="33">
                  <c:v>2378.7431103904955</c:v>
                </c:pt>
                <c:pt idx="34">
                  <c:v>1501.6618485003078</c:v>
                </c:pt>
                <c:pt idx="35">
                  <c:v>1153.64008933067</c:v>
                </c:pt>
                <c:pt idx="36">
                  <c:v>1197.9209930045381</c:v>
                </c:pt>
                <c:pt idx="37">
                  <c:v>1558.4783625768521</c:v>
                </c:pt>
                <c:pt idx="38">
                  <c:v>2191.8349162753725</c:v>
                </c:pt>
                <c:pt idx="39">
                  <c:v>2735.9745845141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General</c:formatCode>
                <c:ptCount val="40"/>
                <c:pt idx="0">
                  <c:v>17.33860161235414</c:v>
                </c:pt>
                <c:pt idx="1">
                  <c:v>22.14398138423374</c:v>
                </c:pt>
                <c:pt idx="2">
                  <c:v>40.476857317845592</c:v>
                </c:pt>
                <c:pt idx="3">
                  <c:v>77.360578260555812</c:v>
                </c:pt>
                <c:pt idx="4">
                  <c:v>113.83015795984166</c:v>
                </c:pt>
                <c:pt idx="5">
                  <c:v>132.46148385835042</c:v>
                </c:pt>
                <c:pt idx="6">
                  <c:v>143.05645761219102</c:v>
                </c:pt>
                <c:pt idx="7">
                  <c:v>147.87692755083506</c:v>
                </c:pt>
                <c:pt idx="8">
                  <c:v>150.19242980658026</c:v>
                </c:pt>
                <c:pt idx="9">
                  <c:v>145.58154551744249</c:v>
                </c:pt>
                <c:pt idx="10">
                  <c:v>127.70808132754837</c:v>
                </c:pt>
                <c:pt idx="11">
                  <c:v>108.43290831375637</c:v>
                </c:pt>
                <c:pt idx="12">
                  <c:v>90.375008752296722</c:v>
                </c:pt>
                <c:pt idx="13">
                  <c:v>76.998414258208982</c:v>
                </c:pt>
                <c:pt idx="14">
                  <c:v>67.07076121239632</c:v>
                </c:pt>
                <c:pt idx="15">
                  <c:v>60.134314556337024</c:v>
                </c:pt>
                <c:pt idx="16">
                  <c:v>68.524447277371749</c:v>
                </c:pt>
                <c:pt idx="17">
                  <c:v>90.651661809644992</c:v>
                </c:pt>
                <c:pt idx="18">
                  <c:v>112.10652557830214</c:v>
                </c:pt>
                <c:pt idx="19">
                  <c:v>147.70925903123006</c:v>
                </c:pt>
                <c:pt idx="20">
                  <c:v>197.24692314853041</c:v>
                </c:pt>
                <c:pt idx="21">
                  <c:v>247.74197451277541</c:v>
                </c:pt>
                <c:pt idx="22">
                  <c:v>307.49400484441304</c:v>
                </c:pt>
                <c:pt idx="23">
                  <c:v>365.01269049491185</c:v>
                </c:pt>
                <c:pt idx="24">
                  <c:v>469.59425291334117</c:v>
                </c:pt>
                <c:pt idx="25">
                  <c:v>707.21910895315023</c:v>
                </c:pt>
                <c:pt idx="26">
                  <c:v>1574.274940960561</c:v>
                </c:pt>
                <c:pt idx="27">
                  <c:v>3000.6394206663658</c:v>
                </c:pt>
                <c:pt idx="28">
                  <c:v>3988.5641350866363</c:v>
                </c:pt>
                <c:pt idx="29">
                  <c:v>4169.4784677404432</c:v>
                </c:pt>
                <c:pt idx="30">
                  <c:v>3719.8434754008822</c:v>
                </c:pt>
                <c:pt idx="31">
                  <c:v>2847.1087106344494</c:v>
                </c:pt>
                <c:pt idx="32">
                  <c:v>1978.8071015263736</c:v>
                </c:pt>
                <c:pt idx="33">
                  <c:v>1422.2297740123452</c:v>
                </c:pt>
                <c:pt idx="34">
                  <c:v>1104.7393720290816</c:v>
                </c:pt>
                <c:pt idx="35">
                  <c:v>932.46667487571733</c:v>
                </c:pt>
                <c:pt idx="36">
                  <c:v>1020.5127678907005</c:v>
                </c:pt>
                <c:pt idx="37">
                  <c:v>1401.0901270605455</c:v>
                </c:pt>
                <c:pt idx="38">
                  <c:v>1662.4601988468162</c:v>
                </c:pt>
                <c:pt idx="39">
                  <c:v>1649.9789542474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General</c:formatCode>
                <c:ptCount val="40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  <c:pt idx="33">
                  <c:v>1116.9938029746786</c:v>
                </c:pt>
                <c:pt idx="34">
                  <c:v>721.34512974324446</c:v>
                </c:pt>
                <c:pt idx="35">
                  <c:v>473.03216143751496</c:v>
                </c:pt>
                <c:pt idx="36">
                  <c:v>316.12587959743394</c:v>
                </c:pt>
                <c:pt idx="37">
                  <c:v>245.96894465504261</c:v>
                </c:pt>
                <c:pt idx="38">
                  <c:v>267.68954809066474</c:v>
                </c:pt>
                <c:pt idx="39">
                  <c:v>293.82182922692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11.092178455872807</c:v>
                </c:pt>
                <c:pt idx="1">
                  <c:v>11.977147924005315</c:v>
                </c:pt>
                <c:pt idx="2">
                  <c:v>17.665722045927726</c:v>
                </c:pt>
                <c:pt idx="3">
                  <c:v>26.147481051643368</c:v>
                </c:pt>
                <c:pt idx="4">
                  <c:v>33.847677347731114</c:v>
                </c:pt>
                <c:pt idx="5">
                  <c:v>43.205988992398652</c:v>
                </c:pt>
                <c:pt idx="6">
                  <c:v>63.115397217042769</c:v>
                </c:pt>
                <c:pt idx="7">
                  <c:v>98.258063854418864</c:v>
                </c:pt>
                <c:pt idx="8">
                  <c:v>139.51014607274777</c:v>
                </c:pt>
                <c:pt idx="9">
                  <c:v>169.69169311023973</c:v>
                </c:pt>
                <c:pt idx="10">
                  <c:v>176.05962558745409</c:v>
                </c:pt>
                <c:pt idx="11">
                  <c:v>160.1001150568525</c:v>
                </c:pt>
                <c:pt idx="12">
                  <c:v>138.37748134587167</c:v>
                </c:pt>
                <c:pt idx="13">
                  <c:v>132.38109175677272</c:v>
                </c:pt>
                <c:pt idx="14">
                  <c:v>137.67046769470059</c:v>
                </c:pt>
                <c:pt idx="15">
                  <c:v>148.33098305402507</c:v>
                </c:pt>
                <c:pt idx="16">
                  <c:v>196.08446461228942</c:v>
                </c:pt>
                <c:pt idx="17">
                  <c:v>282.26918820921031</c:v>
                </c:pt>
                <c:pt idx="18">
                  <c:v>378.66112079387148</c:v>
                </c:pt>
                <c:pt idx="19">
                  <c:v>540.101916498778</c:v>
                </c:pt>
                <c:pt idx="20">
                  <c:v>749.11823794498741</c:v>
                </c:pt>
                <c:pt idx="21">
                  <c:v>907.8716603329425</c:v>
                </c:pt>
                <c:pt idx="22">
                  <c:v>951.80991346405426</c:v>
                </c:pt>
                <c:pt idx="23">
                  <c:v>873.50454438435111</c:v>
                </c:pt>
                <c:pt idx="24">
                  <c:v>735.63928721432785</c:v>
                </c:pt>
                <c:pt idx="25">
                  <c:v>562.16843780199508</c:v>
                </c:pt>
                <c:pt idx="26">
                  <c:v>484.20214669785366</c:v>
                </c:pt>
                <c:pt idx="27">
                  <c:v>657.58642301004306</c:v>
                </c:pt>
                <c:pt idx="28">
                  <c:v>990.97582444976092</c:v>
                </c:pt>
                <c:pt idx="29">
                  <c:v>1541.5927654034556</c:v>
                </c:pt>
                <c:pt idx="30">
                  <c:v>2292.5434673014784</c:v>
                </c:pt>
                <c:pt idx="31">
                  <c:v>2885.8337322008565</c:v>
                </c:pt>
                <c:pt idx="32">
                  <c:v>3122.2588566716317</c:v>
                </c:pt>
                <c:pt idx="33">
                  <c:v>3003.2617257161942</c:v>
                </c:pt>
                <c:pt idx="34">
                  <c:v>2742.6370149470022</c:v>
                </c:pt>
                <c:pt idx="35">
                  <c:v>2663.7075981037656</c:v>
                </c:pt>
                <c:pt idx="36">
                  <c:v>3034.3847552177458</c:v>
                </c:pt>
                <c:pt idx="37">
                  <c:v>3564.5163363500092</c:v>
                </c:pt>
                <c:pt idx="38">
                  <c:v>3764.7358688983145</c:v>
                </c:pt>
                <c:pt idx="39">
                  <c:v>3413.792569000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General</c:formatCode>
                <c:ptCount val="40"/>
                <c:pt idx="0">
                  <c:v>58.267703417791729</c:v>
                </c:pt>
                <c:pt idx="1">
                  <c:v>258.04843118674995</c:v>
                </c:pt>
                <c:pt idx="2">
                  <c:v>627.38742910059034</c:v>
                </c:pt>
                <c:pt idx="3">
                  <c:v>661.0968724265887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0838910164739</c:v>
                </c:pt>
                <c:pt idx="9">
                  <c:v>203.85940956198118</c:v>
                </c:pt>
                <c:pt idx="10">
                  <c:v>197.46564500474935</c:v>
                </c:pt>
                <c:pt idx="11">
                  <c:v>176.57245390443305</c:v>
                </c:pt>
                <c:pt idx="12">
                  <c:v>147.25190197261711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5040951975819</c:v>
                </c:pt>
                <c:pt idx="17">
                  <c:v>484.20271967650882</c:v>
                </c:pt>
                <c:pt idx="18">
                  <c:v>680.01965809731792</c:v>
                </c:pt>
                <c:pt idx="19">
                  <c:v>934.52940198195211</c:v>
                </c:pt>
                <c:pt idx="20">
                  <c:v>1382.8799342355644</c:v>
                </c:pt>
                <c:pt idx="21">
                  <c:v>1746.882178085013</c:v>
                </c:pt>
                <c:pt idx="22">
                  <c:v>1776.7657029967108</c:v>
                </c:pt>
                <c:pt idx="23">
                  <c:v>1612.2684450485235</c:v>
                </c:pt>
                <c:pt idx="24">
                  <c:v>1310.756201965982</c:v>
                </c:pt>
                <c:pt idx="25">
                  <c:v>1061.7900185465128</c:v>
                </c:pt>
                <c:pt idx="26">
                  <c:v>1067.6840009685434</c:v>
                </c:pt>
                <c:pt idx="27">
                  <c:v>1594.2016080921048</c:v>
                </c:pt>
                <c:pt idx="28">
                  <c:v>2303.8750062113727</c:v>
                </c:pt>
                <c:pt idx="29">
                  <c:v>3117.5260669415084</c:v>
                </c:pt>
                <c:pt idx="30">
                  <c:v>4277.3135963432032</c:v>
                </c:pt>
                <c:pt idx="31">
                  <c:v>5705.8862559051131</c:v>
                </c:pt>
                <c:pt idx="32">
                  <c:v>8178.8254947484093</c:v>
                </c:pt>
                <c:pt idx="33">
                  <c:v>6917.4902779449303</c:v>
                </c:pt>
                <c:pt idx="34">
                  <c:v>3437.9208833390735</c:v>
                </c:pt>
                <c:pt idx="35">
                  <c:v>3594.4618394797444</c:v>
                </c:pt>
                <c:pt idx="36">
                  <c:v>4813.8957816377169</c:v>
                </c:pt>
                <c:pt idx="37">
                  <c:v>4617.9352276608161</c:v>
                </c:pt>
                <c:pt idx="38">
                  <c:v>3349.6375286979783</c:v>
                </c:pt>
                <c:pt idx="39">
                  <c:v>2291.75959789942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General</c:formatCode>
                <c:ptCount val="40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  <c:pt idx="33">
                  <c:v>990.44900463768795</c:v>
                </c:pt>
                <c:pt idx="34">
                  <c:v>664.20539384729568</c:v>
                </c:pt>
                <c:pt idx="35">
                  <c:v>484.56012252234291</c:v>
                </c:pt>
                <c:pt idx="36">
                  <c:v>413.41595839079361</c:v>
                </c:pt>
                <c:pt idx="37">
                  <c:v>389.81627602491989</c:v>
                </c:pt>
                <c:pt idx="38">
                  <c:v>320.40033154418694</c:v>
                </c:pt>
                <c:pt idx="39">
                  <c:v>202.07787853029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1208916147554</c:v>
                </c:pt>
                <c:pt idx="12">
                  <c:v>286.60618550771005</c:v>
                </c:pt>
                <c:pt idx="13">
                  <c:v>273.64144331509129</c:v>
                </c:pt>
                <c:pt idx="14">
                  <c:v>285.11198211809284</c:v>
                </c:pt>
                <c:pt idx="15">
                  <c:v>316.18691877735068</c:v>
                </c:pt>
                <c:pt idx="16">
                  <c:v>440.56530769804601</c:v>
                </c:pt>
                <c:pt idx="17">
                  <c:v>656.42714174395337</c:v>
                </c:pt>
                <c:pt idx="18">
                  <c:v>1023.1922835292499</c:v>
                </c:pt>
                <c:pt idx="19">
                  <c:v>1520.312627793711</c:v>
                </c:pt>
                <c:pt idx="20">
                  <c:v>1978.4713378086037</c:v>
                </c:pt>
                <c:pt idx="21">
                  <c:v>2021.8369399433598</c:v>
                </c:pt>
                <c:pt idx="22">
                  <c:v>1500.6295876537906</c:v>
                </c:pt>
                <c:pt idx="23">
                  <c:v>900.95970549138838</c:v>
                </c:pt>
                <c:pt idx="24">
                  <c:v>541.16002311633758</c:v>
                </c:pt>
                <c:pt idx="25">
                  <c:v>376.38196961621668</c:v>
                </c:pt>
                <c:pt idx="26">
                  <c:v>424.34252803934447</c:v>
                </c:pt>
                <c:pt idx="27">
                  <c:v>961.82883304737504</c:v>
                </c:pt>
                <c:pt idx="28">
                  <c:v>1951.070119257653</c:v>
                </c:pt>
                <c:pt idx="29">
                  <c:v>3231.1193358456917</c:v>
                </c:pt>
                <c:pt idx="30">
                  <c:v>4534.6488914134306</c:v>
                </c:pt>
                <c:pt idx="31">
                  <c:v>5153.0356370878808</c:v>
                </c:pt>
                <c:pt idx="32">
                  <c:v>5032.3309662754928</c:v>
                </c:pt>
                <c:pt idx="33">
                  <c:v>4635.1200261002505</c:v>
                </c:pt>
                <c:pt idx="34">
                  <c:v>4291.048800458012</c:v>
                </c:pt>
                <c:pt idx="35">
                  <c:v>4530.6718387824203</c:v>
                </c:pt>
                <c:pt idx="36">
                  <c:v>5812.7432855218212</c:v>
                </c:pt>
                <c:pt idx="37">
                  <c:v>6928.6660561029557</c:v>
                </c:pt>
                <c:pt idx="38">
                  <c:v>6354.768373758463</c:v>
                </c:pt>
                <c:pt idx="39">
                  <c:v>4507.9442188035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L$2:$L$41</c:f>
              <c:numCache>
                <c:formatCode>General</c:formatCode>
                <c:ptCount val="40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3984429465471</c:v>
                </c:pt>
                <c:pt idx="18">
                  <c:v>1392.5204928733226</c:v>
                </c:pt>
                <c:pt idx="19">
                  <c:v>1732.6713171962779</c:v>
                </c:pt>
                <c:pt idx="20">
                  <c:v>2083.7604685928013</c:v>
                </c:pt>
                <c:pt idx="21">
                  <c:v>2318.320708451809</c:v>
                </c:pt>
                <c:pt idx="22">
                  <c:v>2299.7420423670542</c:v>
                </c:pt>
                <c:pt idx="23">
                  <c:v>1948.1398706052707</c:v>
                </c:pt>
                <c:pt idx="24">
                  <c:v>1394.1878090604162</c:v>
                </c:pt>
                <c:pt idx="25">
                  <c:v>936.59196540483822</c:v>
                </c:pt>
                <c:pt idx="26">
                  <c:v>731.31053067742687</c:v>
                </c:pt>
                <c:pt idx="27">
                  <c:v>704.88998186656227</c:v>
                </c:pt>
                <c:pt idx="28">
                  <c:v>668.04412634738844</c:v>
                </c:pt>
                <c:pt idx="29">
                  <c:v>1136.6149413883393</c:v>
                </c:pt>
                <c:pt idx="30">
                  <c:v>2598.4298278834995</c:v>
                </c:pt>
                <c:pt idx="31">
                  <c:v>4230.2743211503821</c:v>
                </c:pt>
                <c:pt idx="32">
                  <c:v>4956.6378697342352</c:v>
                </c:pt>
                <c:pt idx="33">
                  <c:v>4777.795305973591</c:v>
                </c:pt>
                <c:pt idx="34">
                  <c:v>4014.7141569618789</c:v>
                </c:pt>
                <c:pt idx="35">
                  <c:v>3127.8851669872124</c:v>
                </c:pt>
                <c:pt idx="36">
                  <c:v>2682.9132887481992</c:v>
                </c:pt>
                <c:pt idx="37">
                  <c:v>2548.5385973620123</c:v>
                </c:pt>
                <c:pt idx="38">
                  <c:v>2311.4498999885118</c:v>
                </c:pt>
                <c:pt idx="39">
                  <c:v>1806.4912833259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1</c:f>
              <c:numCache>
                <c:formatCode>General</c:formatCode>
                <c:ptCount val="40"/>
                <c:pt idx="0">
                  <c:v>229.71475862288105</c:v>
                </c:pt>
                <c:pt idx="1">
                  <c:v>452.57377925503971</c:v>
                </c:pt>
                <c:pt idx="2">
                  <c:v>658.95790162782896</c:v>
                </c:pt>
                <c:pt idx="3">
                  <c:v>765.835582205538</c:v>
                </c:pt>
                <c:pt idx="4">
                  <c:v>726.01314603076855</c:v>
                </c:pt>
                <c:pt idx="5">
                  <c:v>585.25607734235848</c:v>
                </c:pt>
                <c:pt idx="6">
                  <c:v>443.60744580892998</c:v>
                </c:pt>
                <c:pt idx="7">
                  <c:v>336.46356400261351</c:v>
                </c:pt>
                <c:pt idx="8">
                  <c:v>254.45034580173407</c:v>
                </c:pt>
                <c:pt idx="9">
                  <c:v>181.9992447490857</c:v>
                </c:pt>
                <c:pt idx="10">
                  <c:v>121.36029503884996</c:v>
                </c:pt>
                <c:pt idx="11">
                  <c:v>86.802727607649132</c:v>
                </c:pt>
                <c:pt idx="12">
                  <c:v>68.358785339850442</c:v>
                </c:pt>
                <c:pt idx="13">
                  <c:v>56.271981936176189</c:v>
                </c:pt>
                <c:pt idx="14">
                  <c:v>47.59086409214585</c:v>
                </c:pt>
                <c:pt idx="15">
                  <c:v>44.371096850894396</c:v>
                </c:pt>
                <c:pt idx="16">
                  <c:v>48.676796088210978</c:v>
                </c:pt>
                <c:pt idx="17">
                  <c:v>54.58815352982618</c:v>
                </c:pt>
                <c:pt idx="18">
                  <c:v>62.28474936964183</c:v>
                </c:pt>
                <c:pt idx="19">
                  <c:v>87.66471253837787</c:v>
                </c:pt>
                <c:pt idx="20">
                  <c:v>139.64789690254588</c:v>
                </c:pt>
                <c:pt idx="21">
                  <c:v>210.86517638768061</c:v>
                </c:pt>
                <c:pt idx="22">
                  <c:v>314.16604204449811</c:v>
                </c:pt>
                <c:pt idx="23">
                  <c:v>432.59178544417597</c:v>
                </c:pt>
                <c:pt idx="24">
                  <c:v>726.72090326555804</c:v>
                </c:pt>
                <c:pt idx="25">
                  <c:v>1516.4131860539119</c:v>
                </c:pt>
                <c:pt idx="26">
                  <c:v>2698.4712908524343</c:v>
                </c:pt>
                <c:pt idx="27">
                  <c:v>3535.3171071430788</c:v>
                </c:pt>
                <c:pt idx="28">
                  <c:v>3877.0835686362047</c:v>
                </c:pt>
                <c:pt idx="29">
                  <c:v>3787.9801018384492</c:v>
                </c:pt>
                <c:pt idx="30">
                  <c:v>3098.4977926636379</c:v>
                </c:pt>
                <c:pt idx="31">
                  <c:v>2124.0850970115448</c:v>
                </c:pt>
                <c:pt idx="32">
                  <c:v>1319.2108933599145</c:v>
                </c:pt>
                <c:pt idx="33">
                  <c:v>844.7832608611053</c:v>
                </c:pt>
                <c:pt idx="34">
                  <c:v>578.87992410476204</c:v>
                </c:pt>
                <c:pt idx="35">
                  <c:v>478.76502235857924</c:v>
                </c:pt>
                <c:pt idx="36">
                  <c:v>461.16827606436442</c:v>
                </c:pt>
                <c:pt idx="37">
                  <c:v>471.70435167599237</c:v>
                </c:pt>
                <c:pt idx="38">
                  <c:v>488.88700717015121</c:v>
                </c:pt>
                <c:pt idx="39">
                  <c:v>332.13039955917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General</c:formatCode>
                <c:ptCount val="40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  <c:pt idx="33">
                  <c:v>1179.0017855310698</c:v>
                </c:pt>
                <c:pt idx="34">
                  <c:v>791.46794638713868</c:v>
                </c:pt>
                <c:pt idx="35">
                  <c:v>939.68599378461863</c:v>
                </c:pt>
                <c:pt idx="36">
                  <c:v>1293.9461838176194</c:v>
                </c:pt>
                <c:pt idx="37">
                  <c:v>1415.1967952095349</c:v>
                </c:pt>
                <c:pt idx="38">
                  <c:v>1357.28160369644</c:v>
                </c:pt>
                <c:pt idx="39">
                  <c:v>1691.4506571957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General</c:formatCode>
                <c:ptCount val="40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52.5347061907025</c:v>
                </c:pt>
                <c:pt idx="28">
                  <c:v>1725.3116527402183</c:v>
                </c:pt>
                <c:pt idx="29">
                  <c:v>3052.0271747997822</c:v>
                </c:pt>
                <c:pt idx="30">
                  <c:v>2767.0528117308486</c:v>
                </c:pt>
                <c:pt idx="31">
                  <c:v>1613.260732969753</c:v>
                </c:pt>
                <c:pt idx="32">
                  <c:v>882.71234217752499</c:v>
                </c:pt>
                <c:pt idx="33">
                  <c:v>548.06100096854493</c:v>
                </c:pt>
                <c:pt idx="34">
                  <c:v>388.78050135214414</c:v>
                </c:pt>
                <c:pt idx="35">
                  <c:v>386.78439636049308</c:v>
                </c:pt>
                <c:pt idx="36">
                  <c:v>496.24037964181196</c:v>
                </c:pt>
                <c:pt idx="37">
                  <c:v>623.75677373889562</c:v>
                </c:pt>
                <c:pt idx="38">
                  <c:v>681.2966698025765</c:v>
                </c:pt>
                <c:pt idx="39">
                  <c:v>604.58548710169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9576755581</c:v>
                </c:pt>
                <c:pt idx="22">
                  <c:v>1069.9986225842508</c:v>
                </c:pt>
                <c:pt idx="23">
                  <c:v>852.91303793672284</c:v>
                </c:pt>
                <c:pt idx="24">
                  <c:v>639.85777364168621</c:v>
                </c:pt>
                <c:pt idx="25">
                  <c:v>380.17796809950011</c:v>
                </c:pt>
                <c:pt idx="26">
                  <c:v>335.5358582090285</c:v>
                </c:pt>
                <c:pt idx="27">
                  <c:v>439.23946078241141</c:v>
                </c:pt>
                <c:pt idx="28">
                  <c:v>679.54380514046318</c:v>
                </c:pt>
                <c:pt idx="29">
                  <c:v>1493.0980997740869</c:v>
                </c:pt>
                <c:pt idx="30">
                  <c:v>2329.020204809472</c:v>
                </c:pt>
                <c:pt idx="31">
                  <c:v>2147.4033094821284</c:v>
                </c:pt>
                <c:pt idx="32">
                  <c:v>1491.0315085956634</c:v>
                </c:pt>
                <c:pt idx="33">
                  <c:v>996.47099165237432</c:v>
                </c:pt>
                <c:pt idx="34">
                  <c:v>626.10231833190744</c:v>
                </c:pt>
                <c:pt idx="35">
                  <c:v>507.19384129645772</c:v>
                </c:pt>
                <c:pt idx="36">
                  <c:v>503.38794713528853</c:v>
                </c:pt>
                <c:pt idx="37">
                  <c:v>505.13660120933923</c:v>
                </c:pt>
                <c:pt idx="38">
                  <c:v>465.7965600888503</c:v>
                </c:pt>
                <c:pt idx="39">
                  <c:v>391.01588292209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General</c:formatCode>
                <c:ptCount val="40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4.87422203161088</c:v>
                </c:pt>
                <c:pt idx="26">
                  <c:v>1701.8825370376112</c:v>
                </c:pt>
                <c:pt idx="27">
                  <c:v>2592.5020799101417</c:v>
                </c:pt>
                <c:pt idx="28">
                  <c:v>3004.6041444667972</c:v>
                </c:pt>
                <c:pt idx="29">
                  <c:v>3687.1405760195426</c:v>
                </c:pt>
                <c:pt idx="30">
                  <c:v>3567.05777652288</c:v>
                </c:pt>
                <c:pt idx="31">
                  <c:v>2631.1606011483977</c:v>
                </c:pt>
                <c:pt idx="32">
                  <c:v>1491.2489288507334</c:v>
                </c:pt>
                <c:pt idx="33">
                  <c:v>887.49418153976217</c:v>
                </c:pt>
                <c:pt idx="34">
                  <c:v>614.1676669605456</c:v>
                </c:pt>
                <c:pt idx="35">
                  <c:v>539.47242237012438</c:v>
                </c:pt>
                <c:pt idx="36">
                  <c:v>658.44857063441384</c:v>
                </c:pt>
                <c:pt idx="37">
                  <c:v>900.02979194243835</c:v>
                </c:pt>
                <c:pt idx="38">
                  <c:v>1291.8051243329344</c:v>
                </c:pt>
                <c:pt idx="39">
                  <c:v>1444.1694601811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General</c:formatCode>
                <c:ptCount val="40"/>
                <c:pt idx="0">
                  <c:v>8.7992439088709524</c:v>
                </c:pt>
                <c:pt idx="1">
                  <c:v>13.344737475362786</c:v>
                </c:pt>
                <c:pt idx="2">
                  <c:v>27.132119842482805</c:v>
                </c:pt>
                <c:pt idx="3">
                  <c:v>50.228458418073004</c:v>
                </c:pt>
                <c:pt idx="4">
                  <c:v>63.601699541768639</c:v>
                </c:pt>
                <c:pt idx="5">
                  <c:v>68.859784316581781</c:v>
                </c:pt>
                <c:pt idx="6">
                  <c:v>74.196673295609259</c:v>
                </c:pt>
                <c:pt idx="7">
                  <c:v>73.680254255225833</c:v>
                </c:pt>
                <c:pt idx="8">
                  <c:v>76.51217555135446</c:v>
                </c:pt>
                <c:pt idx="9">
                  <c:v>69.069369966088033</c:v>
                </c:pt>
                <c:pt idx="10">
                  <c:v>58.638711361460338</c:v>
                </c:pt>
                <c:pt idx="11">
                  <c:v>49.794196952296026</c:v>
                </c:pt>
                <c:pt idx="12">
                  <c:v>40.580811800000696</c:v>
                </c:pt>
                <c:pt idx="13">
                  <c:v>36.417602458208286</c:v>
                </c:pt>
                <c:pt idx="14">
                  <c:v>30.653158754188023</c:v>
                </c:pt>
                <c:pt idx="15">
                  <c:v>29.481155802148997</c:v>
                </c:pt>
                <c:pt idx="16">
                  <c:v>39.043291475222752</c:v>
                </c:pt>
                <c:pt idx="17">
                  <c:v>51.608370334422233</c:v>
                </c:pt>
                <c:pt idx="18">
                  <c:v>60.4981552438799</c:v>
                </c:pt>
                <c:pt idx="19">
                  <c:v>87.211103787350169</c:v>
                </c:pt>
                <c:pt idx="20">
                  <c:v>110.03581936118026</c:v>
                </c:pt>
                <c:pt idx="21">
                  <c:v>137.70615515159514</c:v>
                </c:pt>
                <c:pt idx="22">
                  <c:v>169.78784969281787</c:v>
                </c:pt>
                <c:pt idx="23">
                  <c:v>195.22484080209401</c:v>
                </c:pt>
                <c:pt idx="24">
                  <c:v>274.36941211124713</c:v>
                </c:pt>
                <c:pt idx="25">
                  <c:v>432.8496968419031</c:v>
                </c:pt>
                <c:pt idx="26">
                  <c:v>1141.4252441186579</c:v>
                </c:pt>
                <c:pt idx="27">
                  <c:v>1859.2141765477077</c:v>
                </c:pt>
                <c:pt idx="28">
                  <c:v>2129.3499585389286</c:v>
                </c:pt>
                <c:pt idx="29">
                  <c:v>2040.1285092015144</c:v>
                </c:pt>
                <c:pt idx="30">
                  <c:v>1679.7149661993678</c:v>
                </c:pt>
                <c:pt idx="31">
                  <c:v>1167.3937444350818</c:v>
                </c:pt>
                <c:pt idx="32">
                  <c:v>811.4133570912918</c:v>
                </c:pt>
                <c:pt idx="33">
                  <c:v>610.81641692105336</c:v>
                </c:pt>
                <c:pt idx="34">
                  <c:v>493.92295510802819</c:v>
                </c:pt>
                <c:pt idx="35">
                  <c:v>438.5437197676892</c:v>
                </c:pt>
                <c:pt idx="36">
                  <c:v>581.96904812301125</c:v>
                </c:pt>
                <c:pt idx="37">
                  <c:v>819.12107893753421</c:v>
                </c:pt>
                <c:pt idx="38">
                  <c:v>843.33911990928186</c:v>
                </c:pt>
                <c:pt idx="39">
                  <c:v>806.63983433813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General</c:formatCode>
                <c:ptCount val="40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4495685870525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0105290676333</c:v>
                </c:pt>
                <c:pt idx="27">
                  <c:v>361.64497642976738</c:v>
                </c:pt>
                <c:pt idx="28">
                  <c:v>518.12135000203693</c:v>
                </c:pt>
                <c:pt idx="29">
                  <c:v>953.51606618376354</c:v>
                </c:pt>
                <c:pt idx="30">
                  <c:v>1146.6165298091228</c:v>
                </c:pt>
                <c:pt idx="31">
                  <c:v>994.52112620407581</c:v>
                </c:pt>
                <c:pt idx="32">
                  <c:v>680.81092163529729</c:v>
                </c:pt>
                <c:pt idx="33">
                  <c:v>436.18288133938125</c:v>
                </c:pt>
                <c:pt idx="34">
                  <c:v>285.1622484038632</c:v>
                </c:pt>
                <c:pt idx="35">
                  <c:v>187.86991303365178</c:v>
                </c:pt>
                <c:pt idx="36">
                  <c:v>128.2559665637821</c:v>
                </c:pt>
                <c:pt idx="37">
                  <c:v>117.71297809126052</c:v>
                </c:pt>
                <c:pt idx="38">
                  <c:v>149.97656999940426</c:v>
                </c:pt>
                <c:pt idx="39">
                  <c:v>143.84525922752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5.2641254503860324</c:v>
                </c:pt>
                <c:pt idx="1">
                  <c:v>6.7130224736192821</c:v>
                </c:pt>
                <c:pt idx="2">
                  <c:v>10.952699572308445</c:v>
                </c:pt>
                <c:pt idx="3">
                  <c:v>15.194781479334923</c:v>
                </c:pt>
                <c:pt idx="4">
                  <c:v>18.65289586839619</c:v>
                </c:pt>
                <c:pt idx="5">
                  <c:v>24.553093124002466</c:v>
                </c:pt>
                <c:pt idx="6">
                  <c:v>38.562304093040304</c:v>
                </c:pt>
                <c:pt idx="7">
                  <c:v>59.695759761378568</c:v>
                </c:pt>
                <c:pt idx="8">
                  <c:v>79.814386311369219</c:v>
                </c:pt>
                <c:pt idx="9">
                  <c:v>89.877306798870521</c:v>
                </c:pt>
                <c:pt idx="10">
                  <c:v>86.182318788583572</c:v>
                </c:pt>
                <c:pt idx="11">
                  <c:v>73.91779626826893</c:v>
                </c:pt>
                <c:pt idx="12">
                  <c:v>64.459685077602742</c:v>
                </c:pt>
                <c:pt idx="13">
                  <c:v>67.921406679169991</c:v>
                </c:pt>
                <c:pt idx="14">
                  <c:v>69.7490610155306</c:v>
                </c:pt>
                <c:pt idx="15">
                  <c:v>78.581922038494469</c:v>
                </c:pt>
                <c:pt idx="16">
                  <c:v>117.50254257379494</c:v>
                </c:pt>
                <c:pt idx="17">
                  <c:v>164.76664563541536</c:v>
                </c:pt>
                <c:pt idx="18">
                  <c:v>213.89447515845615</c:v>
                </c:pt>
                <c:pt idx="19">
                  <c:v>326.20744134032185</c:v>
                </c:pt>
                <c:pt idx="20">
                  <c:v>422.91079660466551</c:v>
                </c:pt>
                <c:pt idx="21">
                  <c:v>484.9608637282771</c:v>
                </c:pt>
                <c:pt idx="22">
                  <c:v>466.8490497357771</c:v>
                </c:pt>
                <c:pt idx="23">
                  <c:v>406.65549464857395</c:v>
                </c:pt>
                <c:pt idx="24">
                  <c:v>328.9837925657539</c:v>
                </c:pt>
                <c:pt idx="25">
                  <c:v>233.18464523624121</c:v>
                </c:pt>
                <c:pt idx="26">
                  <c:v>251.01750146161245</c:v>
                </c:pt>
                <c:pt idx="27">
                  <c:v>406.56892154843058</c:v>
                </c:pt>
                <c:pt idx="28">
                  <c:v>584.40690290133034</c:v>
                </c:pt>
                <c:pt idx="29">
                  <c:v>957.18586250212547</c:v>
                </c:pt>
                <c:pt idx="30">
                  <c:v>1335.3576047993529</c:v>
                </c:pt>
                <c:pt idx="31">
                  <c:v>1550.4761274015032</c:v>
                </c:pt>
                <c:pt idx="32">
                  <c:v>1571.7827292701284</c:v>
                </c:pt>
                <c:pt idx="33">
                  <c:v>1431.478996446066</c:v>
                </c:pt>
                <c:pt idx="34">
                  <c:v>1311.1580185009359</c:v>
                </c:pt>
                <c:pt idx="35">
                  <c:v>1352.5495796028295</c:v>
                </c:pt>
                <c:pt idx="36">
                  <c:v>1681.8351756149164</c:v>
                </c:pt>
                <c:pt idx="37">
                  <c:v>1882.6811607350926</c:v>
                </c:pt>
                <c:pt idx="38">
                  <c:v>1882.0547081632219</c:v>
                </c:pt>
                <c:pt idx="39">
                  <c:v>1531.737860837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General</c:formatCode>
                <c:ptCount val="40"/>
                <c:pt idx="0">
                  <c:v>33.393489102595218</c:v>
                </c:pt>
                <c:pt idx="1">
                  <c:v>224.6549420841547</c:v>
                </c:pt>
                <c:pt idx="2">
                  <c:v>402.7324870164357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08699828264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45348478838392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096139412791</c:v>
                </c:pt>
                <c:pt idx="16">
                  <c:v>200.07944812563028</c:v>
                </c:pt>
                <c:pt idx="17">
                  <c:v>284.12327155087854</c:v>
                </c:pt>
                <c:pt idx="18">
                  <c:v>395.89638654643937</c:v>
                </c:pt>
                <c:pt idx="19">
                  <c:v>538.63301543551279</c:v>
                </c:pt>
                <c:pt idx="20">
                  <c:v>844.24691880005184</c:v>
                </c:pt>
                <c:pt idx="21">
                  <c:v>902.63525928496108</c:v>
                </c:pt>
                <c:pt idx="22">
                  <c:v>874.13044371174988</c:v>
                </c:pt>
                <c:pt idx="23">
                  <c:v>738.13800133677353</c:v>
                </c:pt>
                <c:pt idx="24">
                  <c:v>572.61820062920845</c:v>
                </c:pt>
                <c:pt idx="25">
                  <c:v>489.17181791730439</c:v>
                </c:pt>
                <c:pt idx="26">
                  <c:v>578.51218305123882</c:v>
                </c:pt>
                <c:pt idx="27">
                  <c:v>1015.6894250408659</c:v>
                </c:pt>
                <c:pt idx="28">
                  <c:v>1288.185581170507</c:v>
                </c:pt>
                <c:pt idx="29">
                  <c:v>1829.3404857710018</c:v>
                </c:pt>
                <c:pt idx="30">
                  <c:v>2447.9731105722017</c:v>
                </c:pt>
                <c:pt idx="31">
                  <c:v>3257.913145332911</c:v>
                </c:pt>
                <c:pt idx="32">
                  <c:v>4920.9123494154992</c:v>
                </c:pt>
                <c:pt idx="33">
                  <c:v>1996.5779285294311</c:v>
                </c:pt>
                <c:pt idx="34">
                  <c:v>1441.3429548096419</c:v>
                </c:pt>
                <c:pt idx="35">
                  <c:v>2153.118884670102</c:v>
                </c:pt>
                <c:pt idx="36">
                  <c:v>2660.7768969676149</c:v>
                </c:pt>
                <c:pt idx="37">
                  <c:v>1957.1583306932007</c:v>
                </c:pt>
                <c:pt idx="38">
                  <c:v>1392.4791980047778</c:v>
                </c:pt>
                <c:pt idx="39">
                  <c:v>899.28039989464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General</c:formatCode>
                <c:ptCount val="40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  <c:pt idx="28">
                  <c:v>270.0422238835846</c:v>
                </c:pt>
                <c:pt idx="29">
                  <c:v>589.70753517993955</c:v>
                </c:pt>
                <c:pt idx="30">
                  <c:v>892.54378073023497</c:v>
                </c:pt>
                <c:pt idx="31">
                  <c:v>884.62189583693487</c:v>
                </c:pt>
                <c:pt idx="32">
                  <c:v>599.29441217585543</c:v>
                </c:pt>
                <c:pt idx="33">
                  <c:v>391.15459246183252</c:v>
                </c:pt>
                <c:pt idx="34">
                  <c:v>273.0508013854631</c:v>
                </c:pt>
                <c:pt idx="35">
                  <c:v>211.50932113687981</c:v>
                </c:pt>
                <c:pt idx="36">
                  <c:v>201.9066372539138</c:v>
                </c:pt>
                <c:pt idx="37">
                  <c:v>187.90963877100609</c:v>
                </c:pt>
                <c:pt idx="38">
                  <c:v>132.4906927731808</c:v>
                </c:pt>
                <c:pt idx="39">
                  <c:v>69.587185757109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5344511622432</c:v>
                </c:pt>
                <c:pt idx="12">
                  <c:v>132.15274039148579</c:v>
                </c:pt>
                <c:pt idx="13">
                  <c:v>141.48870292360553</c:v>
                </c:pt>
                <c:pt idx="14">
                  <c:v>143.62327919448731</c:v>
                </c:pt>
                <c:pt idx="15">
                  <c:v>172.56363958286335</c:v>
                </c:pt>
                <c:pt idx="16">
                  <c:v>268.00166811518261</c:v>
                </c:pt>
                <c:pt idx="17">
                  <c:v>388.4254736287707</c:v>
                </c:pt>
                <c:pt idx="18">
                  <c:v>634.7668099004793</c:v>
                </c:pt>
                <c:pt idx="19">
                  <c:v>885.54581789323174</c:v>
                </c:pt>
                <c:pt idx="20">
                  <c:v>1092.9255199153718</c:v>
                </c:pt>
                <c:pt idx="21">
                  <c:v>928.91142002798767</c:v>
                </c:pt>
                <c:pt idx="22">
                  <c:v>571.71816762580295</c:v>
                </c:pt>
                <c:pt idx="23">
                  <c:v>329.24153786558549</c:v>
                </c:pt>
                <c:pt idx="24">
                  <c:v>211.91848525075204</c:v>
                </c:pt>
                <c:pt idx="25">
                  <c:v>164.46348436546461</c:v>
                </c:pt>
                <c:pt idx="26">
                  <c:v>259.87904367387989</c:v>
                </c:pt>
                <c:pt idx="27">
                  <c:v>701.94978937349515</c:v>
                </c:pt>
                <c:pt idx="28">
                  <c:v>1249.1203298841579</c:v>
                </c:pt>
                <c:pt idx="29">
                  <c:v>1981.9990059615347</c:v>
                </c:pt>
                <c:pt idx="30">
                  <c:v>2552.6498854518964</c:v>
                </c:pt>
                <c:pt idx="31">
                  <c:v>2600.385751635984</c:v>
                </c:pt>
                <c:pt idx="32">
                  <c:v>2431.9452146395083</c:v>
                </c:pt>
                <c:pt idx="33">
                  <c:v>2203.1748114607421</c:v>
                </c:pt>
                <c:pt idx="34">
                  <c:v>2087.8739889972703</c:v>
                </c:pt>
                <c:pt idx="35">
                  <c:v>2442.7978497851491</c:v>
                </c:pt>
                <c:pt idx="36">
                  <c:v>3369.9454357366717</c:v>
                </c:pt>
                <c:pt idx="37">
                  <c:v>3558.720620366284</c:v>
                </c:pt>
                <c:pt idx="38">
                  <c:v>2796.0477533921785</c:v>
                </c:pt>
                <c:pt idx="39">
                  <c:v>1711.89646541132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L$2:$L$41</c:f>
              <c:numCache>
                <c:formatCode>General</c:formatCode>
                <c:ptCount val="40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5456629349935</c:v>
                </c:pt>
                <c:pt idx="18">
                  <c:v>790.76592657982337</c:v>
                </c:pt>
                <c:pt idx="19">
                  <c:v>941.9053906164545</c:v>
                </c:pt>
                <c:pt idx="20">
                  <c:v>1141.8550779763473</c:v>
                </c:pt>
                <c:pt idx="21">
                  <c:v>1176.4656304754617</c:v>
                </c:pt>
                <c:pt idx="22">
                  <c:v>1123.2764118915923</c:v>
                </c:pt>
                <c:pt idx="23">
                  <c:v>824.86345871367826</c:v>
                </c:pt>
                <c:pt idx="24">
                  <c:v>569.32435034673756</c:v>
                </c:pt>
                <c:pt idx="25">
                  <c:v>367.26761505810049</c:v>
                </c:pt>
                <c:pt idx="26">
                  <c:v>364.04291561932644</c:v>
                </c:pt>
                <c:pt idx="27">
                  <c:v>340.84706624723589</c:v>
                </c:pt>
                <c:pt idx="28">
                  <c:v>327.19706010015256</c:v>
                </c:pt>
                <c:pt idx="29">
                  <c:v>809.41788128818678</c:v>
                </c:pt>
                <c:pt idx="30">
                  <c:v>1789.011946595313</c:v>
                </c:pt>
                <c:pt idx="31">
                  <c:v>2441.2623745550691</c:v>
                </c:pt>
                <c:pt idx="32">
                  <c:v>2515.3754951791661</c:v>
                </c:pt>
                <c:pt idx="33">
                  <c:v>2262.4198107944248</c:v>
                </c:pt>
                <c:pt idx="34">
                  <c:v>1752.2943461674538</c:v>
                </c:pt>
                <c:pt idx="35">
                  <c:v>1375.5908208197588</c:v>
                </c:pt>
                <c:pt idx="36">
                  <c:v>1307.3224679284403</c:v>
                </c:pt>
                <c:pt idx="37">
                  <c:v>1241.2161294335724</c:v>
                </c:pt>
                <c:pt idx="38">
                  <c:v>1070.2337705549396</c:v>
                </c:pt>
                <c:pt idx="39">
                  <c:v>736.257512771000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1</c:f>
              <c:numCache>
                <c:formatCode>General</c:formatCode>
                <c:ptCount val="40"/>
                <c:pt idx="0">
                  <c:v>166.77084430621136</c:v>
                </c:pt>
                <c:pt idx="1">
                  <c:v>285.80293494882829</c:v>
                </c:pt>
                <c:pt idx="2">
                  <c:v>373.15496667900067</c:v>
                </c:pt>
                <c:pt idx="3">
                  <c:v>392.68061552653739</c:v>
                </c:pt>
                <c:pt idx="4">
                  <c:v>333.33253050423122</c:v>
                </c:pt>
                <c:pt idx="5">
                  <c:v>251.92354683812729</c:v>
                </c:pt>
                <c:pt idx="6">
                  <c:v>191.68389897080266</c:v>
                </c:pt>
                <c:pt idx="7">
                  <c:v>144.77966503181082</c:v>
                </c:pt>
                <c:pt idx="8">
                  <c:v>109.67068076992324</c:v>
                </c:pt>
                <c:pt idx="9">
                  <c:v>72.328563979162453</c:v>
                </c:pt>
                <c:pt idx="10">
                  <c:v>49.031731059687516</c:v>
                </c:pt>
                <c:pt idx="11">
                  <c:v>37.770996547961623</c:v>
                </c:pt>
                <c:pt idx="12">
                  <c:v>30.587788791888823</c:v>
                </c:pt>
                <c:pt idx="13">
                  <c:v>25.684193144287363</c:v>
                </c:pt>
                <c:pt idx="14">
                  <c:v>21.90667094785849</c:v>
                </c:pt>
                <c:pt idx="15">
                  <c:v>22.464425903035906</c:v>
                </c:pt>
                <c:pt idx="16">
                  <c:v>26.212370185175068</c:v>
                </c:pt>
                <c:pt idx="17">
                  <c:v>28.375783344651111</c:v>
                </c:pt>
                <c:pt idx="18">
                  <c:v>33.908966024990718</c:v>
                </c:pt>
                <c:pt idx="19">
                  <c:v>53.755746513387159</c:v>
                </c:pt>
                <c:pt idx="20">
                  <c:v>85.892150389158729</c:v>
                </c:pt>
                <c:pt idx="21">
                  <c:v>124.97302599852186</c:v>
                </c:pt>
                <c:pt idx="22">
                  <c:v>189.19301604597624</c:v>
                </c:pt>
                <c:pt idx="23">
                  <c:v>243.3987693981997</c:v>
                </c:pt>
                <c:pt idx="24">
                  <c:v>483.32213386735833</c:v>
                </c:pt>
                <c:pt idx="25">
                  <c:v>1033.0910521865537</c:v>
                </c:pt>
                <c:pt idx="26">
                  <c:v>1665.3802386658804</c:v>
                </c:pt>
                <c:pt idx="27">
                  <c:v>1869.9368684771982</c:v>
                </c:pt>
                <c:pt idx="28">
                  <c:v>2007.1467001590067</c:v>
                </c:pt>
                <c:pt idx="29">
                  <c:v>1780.8334016794427</c:v>
                </c:pt>
                <c:pt idx="30">
                  <c:v>1317.6643909841953</c:v>
                </c:pt>
                <c:pt idx="31">
                  <c:v>806.4207060273493</c:v>
                </c:pt>
                <c:pt idx="32">
                  <c:v>512.79018733256521</c:v>
                </c:pt>
                <c:pt idx="33">
                  <c:v>331.99307352853992</c:v>
                </c:pt>
                <c:pt idx="34">
                  <c:v>246.88685057622214</c:v>
                </c:pt>
                <c:pt idx="35">
                  <c:v>231.87817178235707</c:v>
                </c:pt>
                <c:pt idx="36">
                  <c:v>229.29010428200735</c:v>
                </c:pt>
                <c:pt idx="37">
                  <c:v>242.41424739398502</c:v>
                </c:pt>
                <c:pt idx="38">
                  <c:v>246.47275977616616</c:v>
                </c:pt>
                <c:pt idx="39">
                  <c:v>85.657639783004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General</c:formatCode>
                <c:ptCount val="40"/>
                <c:pt idx="0">
                  <c:v>278.56506264198623</c:v>
                </c:pt>
                <c:pt idx="1">
                  <c:v>345.2872069401609</c:v>
                </c:pt>
                <c:pt idx="2">
                  <c:v>497.83085810795717</c:v>
                </c:pt>
                <c:pt idx="3">
                  <c:v>333.86050159989304</c:v>
                </c:pt>
                <c:pt idx="4">
                  <c:v>270.80718631478879</c:v>
                </c:pt>
                <c:pt idx="5">
                  <c:v>290.36790744054247</c:v>
                </c:pt>
                <c:pt idx="6">
                  <c:v>305.50017416285425</c:v>
                </c:pt>
                <c:pt idx="7">
                  <c:v>351.36567935789117</c:v>
                </c:pt>
                <c:pt idx="8">
                  <c:v>353.67834930846101</c:v>
                </c:pt>
                <c:pt idx="9">
                  <c:v>393.02165506856812</c:v>
                </c:pt>
                <c:pt idx="10">
                  <c:v>337.5748787504906</c:v>
                </c:pt>
                <c:pt idx="11">
                  <c:v>312.88484962128121</c:v>
                </c:pt>
                <c:pt idx="12">
                  <c:v>359.53789680710935</c:v>
                </c:pt>
                <c:pt idx="13">
                  <c:v>341.99304809061988</c:v>
                </c:pt>
                <c:pt idx="14">
                  <c:v>389.10010735696017</c:v>
                </c:pt>
                <c:pt idx="15">
                  <c:v>466.76702831447079</c:v>
                </c:pt>
                <c:pt idx="16">
                  <c:v>467.67946035977184</c:v>
                </c:pt>
                <c:pt idx="17">
                  <c:v>414.75840173231023</c:v>
                </c:pt>
                <c:pt idx="18">
                  <c:v>353.81352442628338</c:v>
                </c:pt>
                <c:pt idx="19">
                  <c:v>405.78394934471146</c:v>
                </c:pt>
                <c:pt idx="20">
                  <c:v>439.61886905355658</c:v>
                </c:pt>
                <c:pt idx="21">
                  <c:v>442.42669133788888</c:v>
                </c:pt>
                <c:pt idx="22">
                  <c:v>502.5135005046954</c:v>
                </c:pt>
                <c:pt idx="23">
                  <c:v>565.43457926149506</c:v>
                </c:pt>
                <c:pt idx="24">
                  <c:v>998.31232396103997</c:v>
                </c:pt>
                <c:pt idx="25">
                  <c:v>1356.8202451421332</c:v>
                </c:pt>
                <c:pt idx="27">
                  <c:v>1745.714651232842</c:v>
                </c:pt>
                <c:pt idx="28">
                  <c:v>1011.2685651453633</c:v>
                </c:pt>
                <c:pt idx="29">
                  <c:v>1043.8163826453779</c:v>
                </c:pt>
                <c:pt idx="30">
                  <c:v>964.82268852054551</c:v>
                </c:pt>
                <c:pt idx="31">
                  <c:v>629.22254192606886</c:v>
                </c:pt>
                <c:pt idx="32">
                  <c:v>800.33073237305814</c:v>
                </c:pt>
                <c:pt idx="33">
                  <c:v>378.67105315801183</c:v>
                </c:pt>
                <c:pt idx="34">
                  <c:v>412.79689322912685</c:v>
                </c:pt>
                <c:pt idx="35">
                  <c:v>526.88910055549184</c:v>
                </c:pt>
                <c:pt idx="36">
                  <c:v>767.05708326212766</c:v>
                </c:pt>
                <c:pt idx="37">
                  <c:v>648.13971194740725</c:v>
                </c:pt>
                <c:pt idx="38">
                  <c:v>709.14189174903277</c:v>
                </c:pt>
                <c:pt idx="39">
                  <c:v>982.3087654466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11. vs. 10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Malta</c:v>
                </c:pt>
                <c:pt idx="1">
                  <c:v>Velká Británie</c:v>
                </c:pt>
                <c:pt idx="2">
                  <c:v>Francie</c:v>
                </c:pt>
                <c:pt idx="3">
                  <c:v>Řecko</c:v>
                </c:pt>
                <c:pt idx="4">
                  <c:v>Maďarsko</c:v>
                </c:pt>
                <c:pt idx="5">
                  <c:v>Itálie</c:v>
                </c:pt>
                <c:pt idx="6">
                  <c:v>Belgie</c:v>
                </c:pt>
                <c:pt idx="7">
                  <c:v>Portugalsko</c:v>
                </c:pt>
                <c:pt idx="8">
                  <c:v>Chorvatsko</c:v>
                </c:pt>
                <c:pt idx="9">
                  <c:v>Lucembursko</c:v>
                </c:pt>
                <c:pt idx="10">
                  <c:v>Slovinsko</c:v>
                </c:pt>
                <c:pt idx="11">
                  <c:v>Česká republika</c:v>
                </c:pt>
                <c:pt idx="12">
                  <c:v>Kypr</c:v>
                </c:pt>
                <c:pt idx="13">
                  <c:v>Německo</c:v>
                </c:pt>
                <c:pt idx="14">
                  <c:v>Finsko</c:v>
                </c:pt>
                <c:pt idx="15">
                  <c:v>Bulharsko</c:v>
                </c:pt>
                <c:pt idx="16">
                  <c:v>Rumunsko</c:v>
                </c:pt>
                <c:pt idx="17">
                  <c:v>Estonsko</c:v>
                </c:pt>
                <c:pt idx="18">
                  <c:v>Švédsko</c:v>
                </c:pt>
                <c:pt idx="19">
                  <c:v>Litva</c:v>
                </c:pt>
                <c:pt idx="20">
                  <c:v>Slovensko</c:v>
                </c:pt>
                <c:pt idx="21">
                  <c:v>Lichtenštejnsko</c:v>
                </c:pt>
                <c:pt idx="22">
                  <c:v>Nizozemsko</c:v>
                </c:pt>
                <c:pt idx="23">
                  <c:v>Dánsko</c:v>
                </c:pt>
                <c:pt idx="24">
                  <c:v>Rakousko</c:v>
                </c:pt>
                <c:pt idx="25">
                  <c:v>Lotyšsko</c:v>
                </c:pt>
                <c:pt idx="26">
                  <c:v>Irsko</c:v>
                </c:pt>
                <c:pt idx="27">
                  <c:v>Polsko</c:v>
                </c:pt>
                <c:pt idx="28">
                  <c:v>Norsko</c:v>
                </c:pt>
                <c:pt idx="29">
                  <c:v>Island</c:v>
                </c:pt>
                <c:pt idx="30">
                  <c:v>Španěl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7309697601668406</c:v>
                </c:pt>
                <c:pt idx="1">
                  <c:v>0.84496933290937026</c:v>
                </c:pt>
                <c:pt idx="2">
                  <c:v>1.3668945944787476</c:v>
                </c:pt>
                <c:pt idx="3">
                  <c:v>1.1699231681216993</c:v>
                </c:pt>
                <c:pt idx="4">
                  <c:v>0.91779728651237036</c:v>
                </c:pt>
                <c:pt idx="5">
                  <c:v>1.407499387775681</c:v>
                </c:pt>
                <c:pt idx="6">
                  <c:v>1.2569649696566922</c:v>
                </c:pt>
                <c:pt idx="7">
                  <c:v>0.94270950629332129</c:v>
                </c:pt>
                <c:pt idx="8">
                  <c:v>1.1117388575015694</c:v>
                </c:pt>
                <c:pt idx="9">
                  <c:v>1.2917422119663755</c:v>
                </c:pt>
                <c:pt idx="10">
                  <c:v>1.3304335722736447</c:v>
                </c:pt>
                <c:pt idx="11">
                  <c:v>1.0034737702481795</c:v>
                </c:pt>
                <c:pt idx="12">
                  <c:v>1.2999277531220972</c:v>
                </c:pt>
                <c:pt idx="13">
                  <c:v>1.1194207304213044</c:v>
                </c:pt>
                <c:pt idx="14">
                  <c:v>1.046051371539231</c:v>
                </c:pt>
                <c:pt idx="15">
                  <c:v>1.0152221733391993</c:v>
                </c:pt>
                <c:pt idx="16">
                  <c:v>1.0817229336437719</c:v>
                </c:pt>
                <c:pt idx="17">
                  <c:v>0.73196289127678038</c:v>
                </c:pt>
                <c:pt idx="18">
                  <c:v>0.84116773874319639</c:v>
                </c:pt>
                <c:pt idx="19">
                  <c:v>1.4316794814329552</c:v>
                </c:pt>
                <c:pt idx="20">
                  <c:v>0.94943379302612396</c:v>
                </c:pt>
                <c:pt idx="21">
                  <c:v>1.1785714285714286</c:v>
                </c:pt>
                <c:pt idx="22">
                  <c:v>0.73555897637404277</c:v>
                </c:pt>
                <c:pt idx="23">
                  <c:v>0.63234208583781504</c:v>
                </c:pt>
                <c:pt idx="24">
                  <c:v>1.056017282246692</c:v>
                </c:pt>
                <c:pt idx="25">
                  <c:v>0.70354936758505737</c:v>
                </c:pt>
                <c:pt idx="26">
                  <c:v>1.1635603497797919</c:v>
                </c:pt>
                <c:pt idx="27">
                  <c:v>0.93067588726513573</c:v>
                </c:pt>
                <c:pt idx="28">
                  <c:v>0.63413647931879269</c:v>
                </c:pt>
                <c:pt idx="29">
                  <c:v>0.69717109747784589</c:v>
                </c:pt>
                <c:pt idx="30">
                  <c:v>1.0572381575431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13. vs. 12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Malta</c:v>
                </c:pt>
                <c:pt idx="1">
                  <c:v>Velká Británie</c:v>
                </c:pt>
                <c:pt idx="2">
                  <c:v>Francie</c:v>
                </c:pt>
                <c:pt idx="3">
                  <c:v>Řecko</c:v>
                </c:pt>
                <c:pt idx="4">
                  <c:v>Maďarsko</c:v>
                </c:pt>
                <c:pt idx="5">
                  <c:v>Itálie</c:v>
                </c:pt>
                <c:pt idx="6">
                  <c:v>Belgie</c:v>
                </c:pt>
                <c:pt idx="7">
                  <c:v>Portugalsko</c:v>
                </c:pt>
                <c:pt idx="8">
                  <c:v>Chorvatsko</c:v>
                </c:pt>
                <c:pt idx="9">
                  <c:v>Lucembursko</c:v>
                </c:pt>
                <c:pt idx="10">
                  <c:v>Slovinsko</c:v>
                </c:pt>
                <c:pt idx="11">
                  <c:v>Česká republika</c:v>
                </c:pt>
                <c:pt idx="12">
                  <c:v>Kypr</c:v>
                </c:pt>
                <c:pt idx="13">
                  <c:v>Německo</c:v>
                </c:pt>
                <c:pt idx="14">
                  <c:v>Finsko</c:v>
                </c:pt>
                <c:pt idx="15">
                  <c:v>Bulharsko</c:v>
                </c:pt>
                <c:pt idx="16">
                  <c:v>Rumunsko</c:v>
                </c:pt>
                <c:pt idx="17">
                  <c:v>Estonsko</c:v>
                </c:pt>
                <c:pt idx="18">
                  <c:v>Švédsko</c:v>
                </c:pt>
                <c:pt idx="19">
                  <c:v>Litva</c:v>
                </c:pt>
                <c:pt idx="20">
                  <c:v>Slovensko</c:v>
                </c:pt>
                <c:pt idx="21">
                  <c:v>Lichtenštejnsko</c:v>
                </c:pt>
                <c:pt idx="22">
                  <c:v>Nizozemsko</c:v>
                </c:pt>
                <c:pt idx="23">
                  <c:v>Dánsko</c:v>
                </c:pt>
                <c:pt idx="24">
                  <c:v>Rakousko</c:v>
                </c:pt>
                <c:pt idx="25">
                  <c:v>Lotyšsko</c:v>
                </c:pt>
                <c:pt idx="26">
                  <c:v>Irsko</c:v>
                </c:pt>
                <c:pt idx="27">
                  <c:v>Polsko</c:v>
                </c:pt>
                <c:pt idx="28">
                  <c:v>Norsko</c:v>
                </c:pt>
                <c:pt idx="29">
                  <c:v>Island</c:v>
                </c:pt>
                <c:pt idx="30">
                  <c:v>Španěl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7403250773993808</c:v>
                </c:pt>
                <c:pt idx="1">
                  <c:v>1.3852076388039971</c:v>
                </c:pt>
                <c:pt idx="2">
                  <c:v>1.1179468427383097</c:v>
                </c:pt>
                <c:pt idx="3">
                  <c:v>0.99846143135616816</c:v>
                </c:pt>
                <c:pt idx="4">
                  <c:v>0.95911820911820911</c:v>
                </c:pt>
                <c:pt idx="5">
                  <c:v>0.95648335917929139</c:v>
                </c:pt>
                <c:pt idx="6">
                  <c:v>0.88740414256961608</c:v>
                </c:pt>
                <c:pt idx="7">
                  <c:v>0.8865154467019204</c:v>
                </c:pt>
                <c:pt idx="8">
                  <c:v>0.86304369463521446</c:v>
                </c:pt>
                <c:pt idx="9">
                  <c:v>0.85834358343583439</c:v>
                </c:pt>
                <c:pt idx="10">
                  <c:v>0.84519716885743179</c:v>
                </c:pt>
                <c:pt idx="11">
                  <c:v>0.83945635589817713</c:v>
                </c:pt>
                <c:pt idx="12">
                  <c:v>0.83588818755635708</c:v>
                </c:pt>
                <c:pt idx="13">
                  <c:v>0.81386468426947123</c:v>
                </c:pt>
                <c:pt idx="14">
                  <c:v>0.78870151425117307</c:v>
                </c:pt>
                <c:pt idx="15">
                  <c:v>0.78302087771623352</c:v>
                </c:pt>
                <c:pt idx="16">
                  <c:v>0.76506305464736102</c:v>
                </c:pt>
                <c:pt idx="17">
                  <c:v>0.7408411012356384</c:v>
                </c:pt>
                <c:pt idx="18">
                  <c:v>0.70407728370507172</c:v>
                </c:pt>
                <c:pt idx="19">
                  <c:v>0.70082650894752807</c:v>
                </c:pt>
                <c:pt idx="20">
                  <c:v>0.68794083407519002</c:v>
                </c:pt>
                <c:pt idx="21">
                  <c:v>0.67889908256880738</c:v>
                </c:pt>
                <c:pt idx="22">
                  <c:v>0.64581244817386352</c:v>
                </c:pt>
                <c:pt idx="23">
                  <c:v>0.64412393484086594</c:v>
                </c:pt>
                <c:pt idx="24">
                  <c:v>0.61225580404856994</c:v>
                </c:pt>
                <c:pt idx="25">
                  <c:v>0.60841589214584824</c:v>
                </c:pt>
                <c:pt idx="26">
                  <c:v>0.59604525109067219</c:v>
                </c:pt>
                <c:pt idx="27">
                  <c:v>0.52522320097035258</c:v>
                </c:pt>
                <c:pt idx="28">
                  <c:v>0.49757128978798787</c:v>
                </c:pt>
                <c:pt idx="29">
                  <c:v>0.45454545454545453</c:v>
                </c:pt>
                <c:pt idx="30">
                  <c:v>0.34753390135605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1-454A-B56F-BAAB6C631BA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A1-454A-B56F-BAAB6C631BA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A1-454A-B56F-BAAB6C631BA8}"/>
              </c:ext>
            </c:extLst>
          </c:dPt>
          <c:cat>
            <c:strRef>
              <c:f>List1!$A$2:$A$30</c:f>
              <c:strCache>
                <c:ptCount val="29"/>
                <c:pt idx="0">
                  <c:v>Německo</c:v>
                </c:pt>
                <c:pt idx="1">
                  <c:v>Nizozemsko</c:v>
                </c:pt>
                <c:pt idx="2">
                  <c:v>Lichtenštejnsko</c:v>
                </c:pt>
                <c:pt idx="3">
                  <c:v>Island</c:v>
                </c:pt>
                <c:pt idx="4">
                  <c:v>Finsko</c:v>
                </c:pt>
                <c:pt idx="5">
                  <c:v>Irsko</c:v>
                </c:pt>
                <c:pt idx="6">
                  <c:v>Lucembursko</c:v>
                </c:pt>
                <c:pt idx="7">
                  <c:v>Litva</c:v>
                </c:pt>
                <c:pt idx="8">
                  <c:v>Estonsko</c:v>
                </c:pt>
                <c:pt idx="9">
                  <c:v>Norsko</c:v>
                </c:pt>
                <c:pt idx="10">
                  <c:v>Lotyšsko</c:v>
                </c:pt>
                <c:pt idx="11">
                  <c:v>Francie</c:v>
                </c:pt>
                <c:pt idx="12">
                  <c:v>Belgie</c:v>
                </c:pt>
                <c:pt idx="13">
                  <c:v>Slovensko</c:v>
                </c:pt>
                <c:pt idx="14">
                  <c:v>Česká republika</c:v>
                </c:pt>
                <c:pt idx="15">
                  <c:v>Portugalsko</c:v>
                </c:pt>
                <c:pt idx="16">
                  <c:v>Maďarsko</c:v>
                </c:pt>
                <c:pt idx="17">
                  <c:v>Slovinsko</c:v>
                </c:pt>
                <c:pt idx="18">
                  <c:v>Malta</c:v>
                </c:pt>
                <c:pt idx="19">
                  <c:v>Dánsko</c:v>
                </c:pt>
                <c:pt idx="20">
                  <c:v>Itálie</c:v>
                </c:pt>
                <c:pt idx="21">
                  <c:v>Španělsko</c:v>
                </c:pt>
                <c:pt idx="22">
                  <c:v>Chorvatsko</c:v>
                </c:pt>
                <c:pt idx="23">
                  <c:v>Polsko</c:v>
                </c:pt>
                <c:pt idx="24">
                  <c:v>Kypr</c:v>
                </c:pt>
                <c:pt idx="25">
                  <c:v>Rumunsko</c:v>
                </c:pt>
                <c:pt idx="26">
                  <c:v>Bulharsko</c:v>
                </c:pt>
                <c:pt idx="27">
                  <c:v>Rakousko</c:v>
                </c:pt>
                <c:pt idx="28">
                  <c:v>Řec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6308373483642582</c:v>
                </c:pt>
                <c:pt idx="1">
                  <c:v>0.59172089118559246</c:v>
                </c:pt>
                <c:pt idx="2">
                  <c:v>0.45560165975103734</c:v>
                </c:pt>
                <c:pt idx="3">
                  <c:v>0.4474389154963877</c:v>
                </c:pt>
                <c:pt idx="4">
                  <c:v>0.43549883759216945</c:v>
                </c:pt>
                <c:pt idx="5">
                  <c:v>0.39393360245378184</c:v>
                </c:pt>
                <c:pt idx="6">
                  <c:v>0.38675683170851377</c:v>
                </c:pt>
                <c:pt idx="7">
                  <c:v>0.34653205311416146</c:v>
                </c:pt>
                <c:pt idx="8">
                  <c:v>0.33455537734080448</c:v>
                </c:pt>
                <c:pt idx="9">
                  <c:v>0.3345375630305738</c:v>
                </c:pt>
                <c:pt idx="10">
                  <c:v>0.32728217384527458</c:v>
                </c:pt>
                <c:pt idx="11">
                  <c:v>0.3064566634621112</c:v>
                </c:pt>
                <c:pt idx="12">
                  <c:v>0.27365747795170153</c:v>
                </c:pt>
                <c:pt idx="13">
                  <c:v>0.27341145934434047</c:v>
                </c:pt>
                <c:pt idx="14">
                  <c:v>0.24652319083505303</c:v>
                </c:pt>
                <c:pt idx="15">
                  <c:v>0.20571008027192303</c:v>
                </c:pt>
                <c:pt idx="16">
                  <c:v>0.20564825229433384</c:v>
                </c:pt>
                <c:pt idx="17">
                  <c:v>0.1993652735823806</c:v>
                </c:pt>
                <c:pt idx="18">
                  <c:v>0.17434445401945095</c:v>
                </c:pt>
                <c:pt idx="19">
                  <c:v>0.16670024912075029</c:v>
                </c:pt>
                <c:pt idx="20">
                  <c:v>0.15020239207282451</c:v>
                </c:pt>
                <c:pt idx="21">
                  <c:v>0.14828306647487444</c:v>
                </c:pt>
                <c:pt idx="22">
                  <c:v>0.1273558588593901</c:v>
                </c:pt>
                <c:pt idx="23">
                  <c:v>0.1085822517103775</c:v>
                </c:pt>
                <c:pt idx="24">
                  <c:v>0.10519020785416892</c:v>
                </c:pt>
                <c:pt idx="25">
                  <c:v>0.10464902586204726</c:v>
                </c:pt>
                <c:pt idx="26">
                  <c:v>0.10396054976927328</c:v>
                </c:pt>
                <c:pt idx="27">
                  <c:v>4.3085462668213753E-2</c:v>
                </c:pt>
                <c:pt idx="28">
                  <c:v>3.21223495836031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2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Island</c:v>
                </c:pt>
                <c:pt idx="1">
                  <c:v>Německo</c:v>
                </c:pt>
                <c:pt idx="2">
                  <c:v>Nizozemsko</c:v>
                </c:pt>
                <c:pt idx="3">
                  <c:v>Lichtenštejnsko</c:v>
                </c:pt>
                <c:pt idx="4">
                  <c:v>Finsko</c:v>
                </c:pt>
                <c:pt idx="5">
                  <c:v>Lucembursko</c:v>
                </c:pt>
                <c:pt idx="6">
                  <c:v>Irsko</c:v>
                </c:pt>
                <c:pt idx="7">
                  <c:v>Francie</c:v>
                </c:pt>
                <c:pt idx="8">
                  <c:v>Litva</c:v>
                </c:pt>
                <c:pt idx="9">
                  <c:v>Estonsko</c:v>
                </c:pt>
                <c:pt idx="10">
                  <c:v>Lotyšsko</c:v>
                </c:pt>
                <c:pt idx="11">
                  <c:v>Belgie</c:v>
                </c:pt>
                <c:pt idx="12">
                  <c:v>Slovensko</c:v>
                </c:pt>
                <c:pt idx="13">
                  <c:v>Norsko</c:v>
                </c:pt>
                <c:pt idx="14">
                  <c:v>Česká republika</c:v>
                </c:pt>
                <c:pt idx="15">
                  <c:v>Malta</c:v>
                </c:pt>
                <c:pt idx="16">
                  <c:v>Maďarsko</c:v>
                </c:pt>
                <c:pt idx="17">
                  <c:v>Portugalsko</c:v>
                </c:pt>
                <c:pt idx="18">
                  <c:v>Slovinsko</c:v>
                </c:pt>
                <c:pt idx="19">
                  <c:v>Dánsko</c:v>
                </c:pt>
                <c:pt idx="20">
                  <c:v>Itálie</c:v>
                </c:pt>
                <c:pt idx="21">
                  <c:v>Chorvatsko</c:v>
                </c:pt>
                <c:pt idx="22">
                  <c:v>Kypr</c:v>
                </c:pt>
                <c:pt idx="23">
                  <c:v>Španělsko</c:v>
                </c:pt>
                <c:pt idx="24">
                  <c:v>Rumunsko</c:v>
                </c:pt>
                <c:pt idx="25">
                  <c:v>Bulharsko</c:v>
                </c:pt>
                <c:pt idx="26">
                  <c:v>Polsko</c:v>
                </c:pt>
                <c:pt idx="27">
                  <c:v>Rakousko</c:v>
                </c:pt>
                <c:pt idx="28">
                  <c:v>Řec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40005278437582475</c:v>
                </c:pt>
                <c:pt idx="1">
                  <c:v>0.68036649760843748</c:v>
                </c:pt>
                <c:pt idx="2">
                  <c:v>0.60882658776605092</c:v>
                </c:pt>
                <c:pt idx="3">
                  <c:v>0.46153846153846156</c:v>
                </c:pt>
                <c:pt idx="4">
                  <c:v>0.45598348095825392</c:v>
                </c:pt>
                <c:pt idx="5">
                  <c:v>0.39653700768199002</c:v>
                </c:pt>
                <c:pt idx="6">
                  <c:v>0.43128263189189631</c:v>
                </c:pt>
                <c:pt idx="7">
                  <c:v>0.30261640076039831</c:v>
                </c:pt>
                <c:pt idx="8">
                  <c:v>0.37925431722432312</c:v>
                </c:pt>
                <c:pt idx="9">
                  <c:v>0.37117798519472162</c:v>
                </c:pt>
                <c:pt idx="10">
                  <c:v>0.36669725286043331</c:v>
                </c:pt>
                <c:pt idx="11">
                  <c:v>0.29048348541699043</c:v>
                </c:pt>
                <c:pt idx="12">
                  <c:v>0.29265262155865629</c:v>
                </c:pt>
                <c:pt idx="13">
                  <c:v>0.40545425056187584</c:v>
                </c:pt>
                <c:pt idx="14">
                  <c:v>0.25831008411205258</c:v>
                </c:pt>
                <c:pt idx="15">
                  <c:v>0.13068986445478453</c:v>
                </c:pt>
                <c:pt idx="16">
                  <c:v>0.20324030405592852</c:v>
                </c:pt>
                <c:pt idx="17">
                  <c:v>0.21266583999455463</c:v>
                </c:pt>
                <c:pt idx="18">
                  <c:v>0.20579514123705978</c:v>
                </c:pt>
                <c:pt idx="19">
                  <c:v>0.17884799724277575</c:v>
                </c:pt>
                <c:pt idx="20">
                  <c:v>0.15188249685427668</c:v>
                </c:pt>
                <c:pt idx="21">
                  <c:v>0.1299253837499515</c:v>
                </c:pt>
                <c:pt idx="22">
                  <c:v>0.11376129265031516</c:v>
                </c:pt>
                <c:pt idx="23">
                  <c:v>0.18301730210201164</c:v>
                </c:pt>
                <c:pt idx="24">
                  <c:v>0.11372075617470243</c:v>
                </c:pt>
                <c:pt idx="25">
                  <c:v>0.11259024729557938</c:v>
                </c:pt>
                <c:pt idx="26">
                  <c:v>0.12322238883498476</c:v>
                </c:pt>
                <c:pt idx="27">
                  <c:v>5.2791963881928999E-2</c:v>
                </c:pt>
                <c:pt idx="28">
                  <c:v>3.47276536228432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3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Island</c:v>
                </c:pt>
                <c:pt idx="1">
                  <c:v>Německo</c:v>
                </c:pt>
                <c:pt idx="2">
                  <c:v>Nizozemsko</c:v>
                </c:pt>
                <c:pt idx="3">
                  <c:v>Lichtenštejnsko</c:v>
                </c:pt>
                <c:pt idx="4">
                  <c:v>Finsko</c:v>
                </c:pt>
                <c:pt idx="5">
                  <c:v>Lucembursko</c:v>
                </c:pt>
                <c:pt idx="6">
                  <c:v>Irsko</c:v>
                </c:pt>
                <c:pt idx="7">
                  <c:v>Francie</c:v>
                </c:pt>
                <c:pt idx="8">
                  <c:v>Litva</c:v>
                </c:pt>
                <c:pt idx="9">
                  <c:v>Estonsko</c:v>
                </c:pt>
                <c:pt idx="10">
                  <c:v>Lotyšsko</c:v>
                </c:pt>
                <c:pt idx="11">
                  <c:v>Belgie</c:v>
                </c:pt>
                <c:pt idx="12">
                  <c:v>Slovensko</c:v>
                </c:pt>
                <c:pt idx="13">
                  <c:v>Norsko</c:v>
                </c:pt>
                <c:pt idx="14">
                  <c:v>Česká republika</c:v>
                </c:pt>
                <c:pt idx="15">
                  <c:v>Malta</c:v>
                </c:pt>
                <c:pt idx="16">
                  <c:v>Maďarsko</c:v>
                </c:pt>
                <c:pt idx="17">
                  <c:v>Portugalsko</c:v>
                </c:pt>
                <c:pt idx="18">
                  <c:v>Slovinsko</c:v>
                </c:pt>
                <c:pt idx="19">
                  <c:v>Dánsko</c:v>
                </c:pt>
                <c:pt idx="20">
                  <c:v>Itálie</c:v>
                </c:pt>
                <c:pt idx="21">
                  <c:v>Chorvatsko</c:v>
                </c:pt>
                <c:pt idx="22">
                  <c:v>Kypr</c:v>
                </c:pt>
                <c:pt idx="23">
                  <c:v>Španělsko</c:v>
                </c:pt>
                <c:pt idx="24">
                  <c:v>Rumunsko</c:v>
                </c:pt>
                <c:pt idx="25">
                  <c:v>Bulharsko</c:v>
                </c:pt>
                <c:pt idx="26">
                  <c:v>Polsko</c:v>
                </c:pt>
                <c:pt idx="27">
                  <c:v>Rakousko</c:v>
                </c:pt>
                <c:pt idx="28">
                  <c:v>Řecko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60512910591955027</c:v>
                </c:pt>
                <c:pt idx="1">
                  <c:v>0.57904363636363632</c:v>
                </c:pt>
                <c:pt idx="2">
                  <c:v>0.56705123793309542</c:v>
                </c:pt>
                <c:pt idx="3">
                  <c:v>0.44712990936555891</c:v>
                </c:pt>
                <c:pt idx="4">
                  <c:v>0.412029801537177</c:v>
                </c:pt>
                <c:pt idx="5">
                  <c:v>0.3759540271168178</c:v>
                </c:pt>
                <c:pt idx="6">
                  <c:v>0.34395945725028609</c:v>
                </c:pt>
                <c:pt idx="7">
                  <c:v>0.30997529999805512</c:v>
                </c:pt>
                <c:pt idx="8">
                  <c:v>0.3085461525621766</c:v>
                </c:pt>
                <c:pt idx="9">
                  <c:v>0.29523562697075723</c:v>
                </c:pt>
                <c:pt idx="10">
                  <c:v>0.27814353083998694</c:v>
                </c:pt>
                <c:pt idx="11">
                  <c:v>0.25688936090183973</c:v>
                </c:pt>
                <c:pt idx="12">
                  <c:v>0.249560610859588</c:v>
                </c:pt>
                <c:pt idx="13">
                  <c:v>0.24752672276552196</c:v>
                </c:pt>
                <c:pt idx="14">
                  <c:v>0.23381365362141368</c:v>
                </c:pt>
                <c:pt idx="15">
                  <c:v>0.21575588926737993</c:v>
                </c:pt>
                <c:pt idx="16">
                  <c:v>0.20822035530663346</c:v>
                </c:pt>
                <c:pt idx="17">
                  <c:v>0.19839057765431675</c:v>
                </c:pt>
                <c:pt idx="18">
                  <c:v>0.19225815354892128</c:v>
                </c:pt>
                <c:pt idx="19">
                  <c:v>0.15079868600995361</c:v>
                </c:pt>
                <c:pt idx="20">
                  <c:v>0.14848513935643848</c:v>
                </c:pt>
                <c:pt idx="21">
                  <c:v>0.12450283581018019</c:v>
                </c:pt>
                <c:pt idx="22">
                  <c:v>9.6492833837638778E-2</c:v>
                </c:pt>
                <c:pt idx="23">
                  <c:v>9.5908103837364991E-2</c:v>
                </c:pt>
                <c:pt idx="24">
                  <c:v>9.4767735420348401E-2</c:v>
                </c:pt>
                <c:pt idx="25">
                  <c:v>9.4691553631925385E-2</c:v>
                </c:pt>
                <c:pt idx="26">
                  <c:v>8.8551112839475546E-2</c:v>
                </c:pt>
                <c:pt idx="27">
                  <c:v>3.3134899838780034E-2</c:v>
                </c:pt>
                <c:pt idx="28">
                  <c:v>2.9877458235951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0.0%</c:formatCode>
                <c:ptCount val="40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716614769747642</c:v>
                </c:pt>
                <c:pt idx="28">
                  <c:v>0.32841639917862037</c:v>
                </c:pt>
                <c:pt idx="29">
                  <c:v>0.43336726319136193</c:v>
                </c:pt>
                <c:pt idx="30">
                  <c:v>0.41144656441757377</c:v>
                </c:pt>
                <c:pt idx="31">
                  <c:v>0.34894464551202148</c:v>
                </c:pt>
                <c:pt idx="32">
                  <c:v>0.27074293928181647</c:v>
                </c:pt>
                <c:pt idx="33">
                  <c:v>0.20855005696735524</c:v>
                </c:pt>
                <c:pt idx="34">
                  <c:v>0.1698831595833033</c:v>
                </c:pt>
                <c:pt idx="35">
                  <c:v>0.19520303445738488</c:v>
                </c:pt>
                <c:pt idx="36">
                  <c:v>0.23456511572573699</c:v>
                </c:pt>
                <c:pt idx="37">
                  <c:v>0.26768668084456576</c:v>
                </c:pt>
                <c:pt idx="38">
                  <c:v>0.29048348541699043</c:v>
                </c:pt>
                <c:pt idx="39">
                  <c:v>0.256889360901839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0.0%</c:formatCode>
                <c:ptCount val="40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380847440649</c:v>
                </c:pt>
                <c:pt idx="22">
                  <c:v>0.1452800028440219</c:v>
                </c:pt>
                <c:pt idx="23">
                  <c:v>0.13000785378000579</c:v>
                </c:pt>
                <c:pt idx="24">
                  <c:v>0.10551410098056904</c:v>
                </c:pt>
                <c:pt idx="25">
                  <c:v>8.2497488915718883E-2</c:v>
                </c:pt>
                <c:pt idx="26">
                  <c:v>9.868482571603017E-2</c:v>
                </c:pt>
                <c:pt idx="27">
                  <c:v>8.758269378500734E-2</c:v>
                </c:pt>
                <c:pt idx="28">
                  <c:v>0.12104303215543877</c:v>
                </c:pt>
                <c:pt idx="29">
                  <c:v>0.18201497650018639</c:v>
                </c:pt>
                <c:pt idx="30">
                  <c:v>0.23258424343165041</c:v>
                </c:pt>
                <c:pt idx="31">
                  <c:v>0.23946110250835509</c:v>
                </c:pt>
                <c:pt idx="32">
                  <c:v>0.22860510028086384</c:v>
                </c:pt>
                <c:pt idx="33">
                  <c:v>0.20245925621938754</c:v>
                </c:pt>
                <c:pt idx="34">
                  <c:v>0.21163377290025667</c:v>
                </c:pt>
                <c:pt idx="35">
                  <c:v>0.21183964880213094</c:v>
                </c:pt>
                <c:pt idx="36">
                  <c:v>0.23592107915749985</c:v>
                </c:pt>
                <c:pt idx="37">
                  <c:v>0.26639871779065466</c:v>
                </c:pt>
                <c:pt idx="38">
                  <c:v>0.25831008411205258</c:v>
                </c:pt>
                <c:pt idx="39">
                  <c:v>0.2338136536214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0.0%</c:formatCode>
                <c:ptCount val="40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34847520375028</c:v>
                </c:pt>
                <c:pt idx="31">
                  <c:v>0.33387090359491628</c:v>
                </c:pt>
                <c:pt idx="32">
                  <c:v>0.28941657268452214</c:v>
                </c:pt>
                <c:pt idx="33">
                  <c:v>0.24508426908678613</c:v>
                </c:pt>
                <c:pt idx="34">
                  <c:v>0.20915940943915942</c:v>
                </c:pt>
                <c:pt idx="35">
                  <c:v>0.20379597171118383</c:v>
                </c:pt>
                <c:pt idx="36">
                  <c:v>0.24874147539318547</c:v>
                </c:pt>
                <c:pt idx="37">
                  <c:v>0.26591151964925602</c:v>
                </c:pt>
                <c:pt idx="38">
                  <c:v>0.30261640076039831</c:v>
                </c:pt>
                <c:pt idx="39">
                  <c:v>0.309975299998055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0.0%</c:formatCode>
                <c:ptCount val="40"/>
                <c:pt idx="0">
                  <c:v>4.3408098157885376E-3</c:v>
                </c:pt>
                <c:pt idx="1">
                  <c:v>6.8108593800141198E-3</c:v>
                </c:pt>
                <c:pt idx="2">
                  <c:v>1.2609648695592545E-2</c:v>
                </c:pt>
                <c:pt idx="3">
                  <c:v>2.0863076873790815E-2</c:v>
                </c:pt>
                <c:pt idx="4">
                  <c:v>2.5569832545335174E-2</c:v>
                </c:pt>
                <c:pt idx="5">
                  <c:v>2.8072768136666513E-2</c:v>
                </c:pt>
                <c:pt idx="6">
                  <c:v>3.0902234636871508E-2</c:v>
                </c:pt>
                <c:pt idx="7">
                  <c:v>3.146811833628007E-2</c:v>
                </c:pt>
                <c:pt idx="8">
                  <c:v>2.8257319762290012E-2</c:v>
                </c:pt>
                <c:pt idx="9">
                  <c:v>2.1661329421106046E-2</c:v>
                </c:pt>
                <c:pt idx="10">
                  <c:v>1.8084808770974535E-2</c:v>
                </c:pt>
                <c:pt idx="11">
                  <c:v>1.510077522533196E-2</c:v>
                </c:pt>
                <c:pt idx="12">
                  <c:v>1.2233858110901847E-2</c:v>
                </c:pt>
                <c:pt idx="13">
                  <c:v>1.0848527681976311E-2</c:v>
                </c:pt>
                <c:pt idx="14">
                  <c:v>9.4715377234737882E-3</c:v>
                </c:pt>
                <c:pt idx="15">
                  <c:v>7.3469162632053744E-3</c:v>
                </c:pt>
                <c:pt idx="16">
                  <c:v>7.0040055115261094E-3</c:v>
                </c:pt>
                <c:pt idx="17">
                  <c:v>9.6101339143124485E-3</c:v>
                </c:pt>
                <c:pt idx="18">
                  <c:v>1.1687742090966277E-2</c:v>
                </c:pt>
                <c:pt idx="19">
                  <c:v>1.5019348087411023E-2</c:v>
                </c:pt>
                <c:pt idx="20">
                  <c:v>1.7749101212906186E-2</c:v>
                </c:pt>
                <c:pt idx="21">
                  <c:v>2.1410194881521825E-2</c:v>
                </c:pt>
                <c:pt idx="22">
                  <c:v>2.5320089194404895E-2</c:v>
                </c:pt>
                <c:pt idx="23">
                  <c:v>3.1835448177544655E-2</c:v>
                </c:pt>
                <c:pt idx="24">
                  <c:v>3.7392561339494514E-2</c:v>
                </c:pt>
                <c:pt idx="25">
                  <c:v>5.1772223714052108E-2</c:v>
                </c:pt>
                <c:pt idx="26">
                  <c:v>0.1099416169886472</c:v>
                </c:pt>
                <c:pt idx="27">
                  <c:v>0.16770627660435258</c:v>
                </c:pt>
                <c:pt idx="28">
                  <c:v>0.16626931477156651</c:v>
                </c:pt>
                <c:pt idx="29">
                  <c:v>0.1642190960980853</c:v>
                </c:pt>
                <c:pt idx="30">
                  <c:v>0.14421071026949278</c:v>
                </c:pt>
                <c:pt idx="31">
                  <c:v>0.11559724632397134</c:v>
                </c:pt>
                <c:pt idx="32">
                  <c:v>0.10701716404592676</c:v>
                </c:pt>
                <c:pt idx="33">
                  <c:v>0.10565698458504329</c:v>
                </c:pt>
                <c:pt idx="34">
                  <c:v>9.8478015670474747E-2</c:v>
                </c:pt>
                <c:pt idx="35">
                  <c:v>9.8978368136378031E-2</c:v>
                </c:pt>
                <c:pt idx="36">
                  <c:v>0.12484475110360249</c:v>
                </c:pt>
                <c:pt idx="37">
                  <c:v>0.15499804085491697</c:v>
                </c:pt>
                <c:pt idx="38">
                  <c:v>0.15188249685427668</c:v>
                </c:pt>
                <c:pt idx="39">
                  <c:v>0.148485139356438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0.0%</c:formatCode>
                <c:ptCount val="40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  <c:pt idx="33">
                  <c:v>0.29039402488721699</c:v>
                </c:pt>
                <c:pt idx="34">
                  <c:v>0.22802537343973808</c:v>
                </c:pt>
                <c:pt idx="35">
                  <c:v>0.19537587021779396</c:v>
                </c:pt>
                <c:pt idx="36">
                  <c:v>0.16460851287440884</c:v>
                </c:pt>
                <c:pt idx="37">
                  <c:v>0.18144811372852207</c:v>
                </c:pt>
                <c:pt idx="38">
                  <c:v>0.20324030405592852</c:v>
                </c:pt>
                <c:pt idx="39">
                  <c:v>0.20822035530663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0.0%</c:formatCode>
                <c:ptCount val="40"/>
                <c:pt idx="0">
                  <c:v>5.9877127429687456E-3</c:v>
                </c:pt>
                <c:pt idx="1">
                  <c:v>9.0549769935789615E-3</c:v>
                </c:pt>
                <c:pt idx="2">
                  <c:v>1.4874993876251286E-2</c:v>
                </c:pt>
                <c:pt idx="3">
                  <c:v>2.1098694876174353E-2</c:v>
                </c:pt>
                <c:pt idx="4">
                  <c:v>2.6390103328490698E-2</c:v>
                </c:pt>
                <c:pt idx="5">
                  <c:v>3.4350560761970128E-2</c:v>
                </c:pt>
                <c:pt idx="6">
                  <c:v>5.5997499659520673E-2</c:v>
                </c:pt>
                <c:pt idx="7">
                  <c:v>7.1351887382240714E-2</c:v>
                </c:pt>
                <c:pt idx="8">
                  <c:v>7.6618176487630446E-2</c:v>
                </c:pt>
                <c:pt idx="9">
                  <c:v>7.8566075574703881E-2</c:v>
                </c:pt>
                <c:pt idx="10">
                  <c:v>7.0543204821838429E-2</c:v>
                </c:pt>
                <c:pt idx="11">
                  <c:v>6.22768139799924E-2</c:v>
                </c:pt>
                <c:pt idx="12">
                  <c:v>5.536775679457983E-2</c:v>
                </c:pt>
                <c:pt idx="13">
                  <c:v>5.8218246279424499E-2</c:v>
                </c:pt>
                <c:pt idx="14">
                  <c:v>6.0168219587863045E-2</c:v>
                </c:pt>
                <c:pt idx="15">
                  <c:v>7.5629649173968791E-2</c:v>
                </c:pt>
                <c:pt idx="16">
                  <c:v>0.10700188222051653</c:v>
                </c:pt>
                <c:pt idx="17">
                  <c:v>0.11714594450419151</c:v>
                </c:pt>
                <c:pt idx="18">
                  <c:v>0.1485271193558918</c:v>
                </c:pt>
                <c:pt idx="19">
                  <c:v>0.16559503390689187</c:v>
                </c:pt>
                <c:pt idx="20">
                  <c:v>0.18791215190644381</c:v>
                </c:pt>
                <c:pt idx="21">
                  <c:v>0.20651834965967375</c:v>
                </c:pt>
                <c:pt idx="22">
                  <c:v>0.19902584404380319</c:v>
                </c:pt>
                <c:pt idx="23">
                  <c:v>0.19408876380765239</c:v>
                </c:pt>
                <c:pt idx="24">
                  <c:v>0.17571966033291075</c:v>
                </c:pt>
                <c:pt idx="25">
                  <c:v>0.15574790831102037</c:v>
                </c:pt>
                <c:pt idx="26">
                  <c:v>0.21735866579763322</c:v>
                </c:pt>
                <c:pt idx="27">
                  <c:v>0.22544419767721735</c:v>
                </c:pt>
                <c:pt idx="28">
                  <c:v>0.23668168798447159</c:v>
                </c:pt>
                <c:pt idx="29">
                  <c:v>0.31526928938272075</c:v>
                </c:pt>
                <c:pt idx="30">
                  <c:v>0.43312322745099263</c:v>
                </c:pt>
                <c:pt idx="31">
                  <c:v>0.4922949585465563</c:v>
                </c:pt>
                <c:pt idx="32">
                  <c:v>0.52494660981351382</c:v>
                </c:pt>
                <c:pt idx="33">
                  <c:v>0.54699633395008496</c:v>
                </c:pt>
                <c:pt idx="34">
                  <c:v>0.54687835389889805</c:v>
                </c:pt>
                <c:pt idx="35">
                  <c:v>0.60050608449155329</c:v>
                </c:pt>
                <c:pt idx="36">
                  <c:v>0.60871754432232905</c:v>
                </c:pt>
                <c:pt idx="37">
                  <c:v>0.63278429876447018</c:v>
                </c:pt>
                <c:pt idx="38">
                  <c:v>0.68036649760843748</c:v>
                </c:pt>
                <c:pt idx="39">
                  <c:v>0.57904363636363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0.0%</c:formatCode>
                <c:ptCount val="40"/>
                <c:pt idx="0">
                  <c:v>1.2664570792401693E-2</c:v>
                </c:pt>
                <c:pt idx="1">
                  <c:v>7.2727847548059665E-2</c:v>
                </c:pt>
                <c:pt idx="2">
                  <c:v>9.4513432296560729E-2</c:v>
                </c:pt>
                <c:pt idx="3">
                  <c:v>4.2831783230702129E-2</c:v>
                </c:pt>
                <c:pt idx="4">
                  <c:v>3.0733414462694352E-2</c:v>
                </c:pt>
                <c:pt idx="5">
                  <c:v>2.7825907177032018E-2</c:v>
                </c:pt>
                <c:pt idx="6">
                  <c:v>3.1658826627053833E-2</c:v>
                </c:pt>
                <c:pt idx="7">
                  <c:v>3.5897827627619984E-2</c:v>
                </c:pt>
                <c:pt idx="8">
                  <c:v>4.3226953019873879E-2</c:v>
                </c:pt>
                <c:pt idx="9">
                  <c:v>4.5557040469347422E-2</c:v>
                </c:pt>
                <c:pt idx="10">
                  <c:v>4.3039102347891683E-2</c:v>
                </c:pt>
                <c:pt idx="11">
                  <c:v>3.6923409141183784E-2</c:v>
                </c:pt>
                <c:pt idx="12">
                  <c:v>2.4035884092889627E-2</c:v>
                </c:pt>
                <c:pt idx="13">
                  <c:v>2.0344820293002074E-2</c:v>
                </c:pt>
                <c:pt idx="14">
                  <c:v>3.3619732134112158E-2</c:v>
                </c:pt>
                <c:pt idx="15">
                  <c:v>3.4936066849191406E-2</c:v>
                </c:pt>
                <c:pt idx="16">
                  <c:v>4.5092329940846172E-2</c:v>
                </c:pt>
                <c:pt idx="17">
                  <c:v>6.2254394775862025E-2</c:v>
                </c:pt>
                <c:pt idx="18">
                  <c:v>7.3599111462349279E-2</c:v>
                </c:pt>
                <c:pt idx="19">
                  <c:v>8.4868908162397103E-2</c:v>
                </c:pt>
                <c:pt idx="20">
                  <c:v>0.11660870469067507</c:v>
                </c:pt>
                <c:pt idx="21">
                  <c:v>0.11914617732365264</c:v>
                </c:pt>
                <c:pt idx="22">
                  <c:v>0.13478692212980434</c:v>
                </c:pt>
                <c:pt idx="23">
                  <c:v>0.13769468669025661</c:v>
                </c:pt>
                <c:pt idx="24">
                  <c:v>0.13154168453696677</c:v>
                </c:pt>
                <c:pt idx="25">
                  <c:v>0.14067017104493687</c:v>
                </c:pt>
                <c:pt idx="26">
                  <c:v>0.18941545568425053</c:v>
                </c:pt>
                <c:pt idx="27">
                  <c:v>0.25260632833807906</c:v>
                </c:pt>
                <c:pt idx="28">
                  <c:v>0.277643370617907</c:v>
                </c:pt>
                <c:pt idx="29">
                  <c:v>0.34742478594433246</c:v>
                </c:pt>
                <c:pt idx="30">
                  <c:v>0.39496951064092073</c:v>
                </c:pt>
                <c:pt idx="31">
                  <c:v>0.43659985403662632</c:v>
                </c:pt>
                <c:pt idx="32">
                  <c:v>0.40541792815693611</c:v>
                </c:pt>
                <c:pt idx="33">
                  <c:v>0.36555597627161429</c:v>
                </c:pt>
                <c:pt idx="34">
                  <c:v>0.3327030306244903</c:v>
                </c:pt>
                <c:pt idx="35">
                  <c:v>0.52813455097304551</c:v>
                </c:pt>
                <c:pt idx="36">
                  <c:v>0.4757271581594032</c:v>
                </c:pt>
                <c:pt idx="37">
                  <c:v>0.44892129178816653</c:v>
                </c:pt>
                <c:pt idx="38">
                  <c:v>0.60882658776605092</c:v>
                </c:pt>
                <c:pt idx="39">
                  <c:v>0.56705123793309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0.0%</c:formatCode>
                <c:ptCount val="40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  <c:pt idx="33">
                  <c:v>0.21960378876622533</c:v>
                </c:pt>
                <c:pt idx="34">
                  <c:v>0.18787704109747963</c:v>
                </c:pt>
                <c:pt idx="35">
                  <c:v>0.16463584687441044</c:v>
                </c:pt>
                <c:pt idx="36">
                  <c:v>0.16055372600283233</c:v>
                </c:pt>
                <c:pt idx="37">
                  <c:v>0.15324408579279702</c:v>
                </c:pt>
                <c:pt idx="38">
                  <c:v>0.12322238883498476</c:v>
                </c:pt>
                <c:pt idx="39">
                  <c:v>8.855111283947554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0.0%</c:formatCode>
                <c:ptCount val="40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0056098766094E-3</c:v>
                </c:pt>
                <c:pt idx="12">
                  <c:v>3.7184898056857522E-3</c:v>
                </c:pt>
                <c:pt idx="13">
                  <c:v>4.1767487026011648E-3</c:v>
                </c:pt>
                <c:pt idx="14">
                  <c:v>3.4909589787743469E-3</c:v>
                </c:pt>
                <c:pt idx="15">
                  <c:v>4.2731511735725628E-3</c:v>
                </c:pt>
                <c:pt idx="16">
                  <c:v>6.4632300327374589E-3</c:v>
                </c:pt>
                <c:pt idx="17">
                  <c:v>1.1246294633142253E-2</c:v>
                </c:pt>
                <c:pt idx="18">
                  <c:v>1.1862362084110846E-2</c:v>
                </c:pt>
                <c:pt idx="19">
                  <c:v>1.8289901305118796E-2</c:v>
                </c:pt>
                <c:pt idx="20">
                  <c:v>1.6461207562456292E-2</c:v>
                </c:pt>
                <c:pt idx="21">
                  <c:v>1.0562943044960632E-2</c:v>
                </c:pt>
                <c:pt idx="22">
                  <c:v>8.4512810361085551E-3</c:v>
                </c:pt>
                <c:pt idx="23">
                  <c:v>5.7847750232577324E-3</c:v>
                </c:pt>
                <c:pt idx="24">
                  <c:v>3.1485708829886035E-3</c:v>
                </c:pt>
                <c:pt idx="25">
                  <c:v>3.068613133177894E-3</c:v>
                </c:pt>
                <c:pt idx="26">
                  <c:v>4.7753666062073158E-3</c:v>
                </c:pt>
                <c:pt idx="27">
                  <c:v>1.498984818703231E-2</c:v>
                </c:pt>
                <c:pt idx="28">
                  <c:v>1.394991405593265E-2</c:v>
                </c:pt>
                <c:pt idx="29">
                  <c:v>2.2645218323759143E-2</c:v>
                </c:pt>
                <c:pt idx="30">
                  <c:v>2.8674969143359069E-2</c:v>
                </c:pt>
                <c:pt idx="31">
                  <c:v>2.9196393432697258E-2</c:v>
                </c:pt>
                <c:pt idx="32">
                  <c:v>3.5410049846169148E-2</c:v>
                </c:pt>
                <c:pt idx="33">
                  <c:v>3.1546346213211063E-2</c:v>
                </c:pt>
                <c:pt idx="34">
                  <c:v>3.2523194977816541E-2</c:v>
                </c:pt>
                <c:pt idx="35">
                  <c:v>3.7523981540620595E-2</c:v>
                </c:pt>
                <c:pt idx="36">
                  <c:v>5.1193064417610859E-2</c:v>
                </c:pt>
                <c:pt idx="37">
                  <c:v>5.1458171594492765E-2</c:v>
                </c:pt>
                <c:pt idx="38">
                  <c:v>5.2791963881928999E-2</c:v>
                </c:pt>
                <c:pt idx="39">
                  <c:v>3.313489983878003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0.0%</c:formatCode>
                <c:ptCount val="40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15177496267</c:v>
                </c:pt>
                <c:pt idx="21">
                  <c:v>0.13441968837073959</c:v>
                </c:pt>
                <c:pt idx="22">
                  <c:v>0.12895144785634807</c:v>
                </c:pt>
                <c:pt idx="23">
                  <c:v>0.11794603091433063</c:v>
                </c:pt>
                <c:pt idx="24">
                  <c:v>9.2125743798345039E-2</c:v>
                </c:pt>
                <c:pt idx="25">
                  <c:v>8.6784284013421364E-2</c:v>
                </c:pt>
                <c:pt idx="26">
                  <c:v>8.8836924397626721E-2</c:v>
                </c:pt>
                <c:pt idx="27">
                  <c:v>6.9600646508182373E-2</c:v>
                </c:pt>
                <c:pt idx="28">
                  <c:v>6.3353874207544431E-2</c:v>
                </c:pt>
                <c:pt idx="29">
                  <c:v>0.12973622229922999</c:v>
                </c:pt>
                <c:pt idx="30">
                  <c:v>0.2159361316289973</c:v>
                </c:pt>
                <c:pt idx="31">
                  <c:v>0.27208032476230926</c:v>
                </c:pt>
                <c:pt idx="32">
                  <c:v>0.30979857654136561</c:v>
                </c:pt>
                <c:pt idx="33">
                  <c:v>0.30674374178675495</c:v>
                </c:pt>
                <c:pt idx="34">
                  <c:v>0.29158460215735654</c:v>
                </c:pt>
                <c:pt idx="35">
                  <c:v>0.28276581560978181</c:v>
                </c:pt>
                <c:pt idx="36">
                  <c:v>0.30223524976597016</c:v>
                </c:pt>
                <c:pt idx="37">
                  <c:v>0.3152936796053244</c:v>
                </c:pt>
                <c:pt idx="38">
                  <c:v>0.29265262155865629</c:v>
                </c:pt>
                <c:pt idx="39">
                  <c:v>0.2495606108595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41</c:f>
              <c:numCache>
                <c:formatCode>0.0%</c:formatCode>
                <c:ptCount val="40"/>
                <c:pt idx="0">
                  <c:v>9.3768115253399731E-2</c:v>
                </c:pt>
                <c:pt idx="1">
                  <c:v>0.12834347376879807</c:v>
                </c:pt>
                <c:pt idx="2">
                  <c:v>0.14455208446718187</c:v>
                </c:pt>
                <c:pt idx="3">
                  <c:v>0.14611957582194521</c:v>
                </c:pt>
                <c:pt idx="4">
                  <c:v>0.13041778327379014</c:v>
                </c:pt>
                <c:pt idx="5">
                  <c:v>0.11555756267177318</c:v>
                </c:pt>
                <c:pt idx="6">
                  <c:v>0.10164894260631076</c:v>
                </c:pt>
                <c:pt idx="7">
                  <c:v>8.8058606364100137E-2</c:v>
                </c:pt>
                <c:pt idx="8">
                  <c:v>7.1315132931078065E-2</c:v>
                </c:pt>
                <c:pt idx="9">
                  <c:v>4.9587483125626455E-2</c:v>
                </c:pt>
                <c:pt idx="10">
                  <c:v>3.7510182443527842E-2</c:v>
                </c:pt>
                <c:pt idx="11">
                  <c:v>2.8376336440053839E-2</c:v>
                </c:pt>
                <c:pt idx="12">
                  <c:v>2.2598640772455818E-2</c:v>
                </c:pt>
                <c:pt idx="13">
                  <c:v>1.83899943424711E-2</c:v>
                </c:pt>
                <c:pt idx="14">
                  <c:v>1.8177069090042141E-2</c:v>
                </c:pt>
                <c:pt idx="15">
                  <c:v>1.9876029504678802E-2</c:v>
                </c:pt>
                <c:pt idx="16">
                  <c:v>2.1729916422051129E-2</c:v>
                </c:pt>
                <c:pt idx="17">
                  <c:v>2.3953986088817551E-2</c:v>
                </c:pt>
                <c:pt idx="18">
                  <c:v>2.9994337517590137E-2</c:v>
                </c:pt>
                <c:pt idx="19">
                  <c:v>3.9696952676938825E-2</c:v>
                </c:pt>
                <c:pt idx="20">
                  <c:v>5.3803926343344619E-2</c:v>
                </c:pt>
                <c:pt idx="21">
                  <c:v>6.6439559353406841E-2</c:v>
                </c:pt>
                <c:pt idx="22">
                  <c:v>8.1565176997800332E-2</c:v>
                </c:pt>
                <c:pt idx="23">
                  <c:v>0.11180011509277778</c:v>
                </c:pt>
                <c:pt idx="24">
                  <c:v>0.14395230304555751</c:v>
                </c:pt>
                <c:pt idx="25">
                  <c:v>0.21365425594433154</c:v>
                </c:pt>
                <c:pt idx="26">
                  <c:v>0.31220921044658068</c:v>
                </c:pt>
                <c:pt idx="27">
                  <c:v>0.39619530039293205</c:v>
                </c:pt>
                <c:pt idx="28">
                  <c:v>0.3868389217282675</c:v>
                </c:pt>
                <c:pt idx="29">
                  <c:v>0.37772895237088028</c:v>
                </c:pt>
                <c:pt idx="30">
                  <c:v>0.34810513396258325</c:v>
                </c:pt>
                <c:pt idx="31">
                  <c:v>0.28729705928841853</c:v>
                </c:pt>
                <c:pt idx="32">
                  <c:v>0.24300179810738184</c:v>
                </c:pt>
                <c:pt idx="33">
                  <c:v>0.19176234994636693</c:v>
                </c:pt>
                <c:pt idx="34">
                  <c:v>0.16411649296461028</c:v>
                </c:pt>
                <c:pt idx="35">
                  <c:v>0.16300954406518361</c:v>
                </c:pt>
                <c:pt idx="36">
                  <c:v>0.16094751250532022</c:v>
                </c:pt>
                <c:pt idx="37">
                  <c:v>0.17251561783477798</c:v>
                </c:pt>
                <c:pt idx="38">
                  <c:v>0.18301730210201164</c:v>
                </c:pt>
                <c:pt idx="39" formatCode="General">
                  <c:v>9.590810383736499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General</c:formatCode>
                <c:ptCount val="40"/>
                <c:pt idx="0">
                  <c:v>0.37318484626520076</c:v>
                </c:pt>
                <c:pt idx="1">
                  <c:v>0.26036152065014007</c:v>
                </c:pt>
                <c:pt idx="2">
                  <c:v>0.14753819503507937</c:v>
                </c:pt>
                <c:pt idx="3">
                  <c:v>0.15621691239008403</c:v>
                </c:pt>
                <c:pt idx="4">
                  <c:v>0.2777189553601494</c:v>
                </c:pt>
                <c:pt idx="5">
                  <c:v>0.3818635636202054</c:v>
                </c:pt>
                <c:pt idx="6">
                  <c:v>0.3905422809752101</c:v>
                </c:pt>
                <c:pt idx="7">
                  <c:v>0.5467591933652941</c:v>
                </c:pt>
                <c:pt idx="8">
                  <c:v>0.63354636691534083</c:v>
                </c:pt>
                <c:pt idx="9">
                  <c:v>0.62486764956033614</c:v>
                </c:pt>
                <c:pt idx="10">
                  <c:v>0.76372712724041081</c:v>
                </c:pt>
                <c:pt idx="11">
                  <c:v>0.75504840988540622</c:v>
                </c:pt>
                <c:pt idx="12">
                  <c:v>0.80712071401543428</c:v>
                </c:pt>
                <c:pt idx="13">
                  <c:v>0.95465890905051365</c:v>
                </c:pt>
                <c:pt idx="14">
                  <c:v>1.0240886478905511</c:v>
                </c:pt>
                <c:pt idx="15">
                  <c:v>1.3278437553157143</c:v>
                </c:pt>
                <c:pt idx="16">
                  <c:v>1.7270647536459289</c:v>
                </c:pt>
                <c:pt idx="17">
                  <c:v>2.2304303602362001</c:v>
                </c:pt>
                <c:pt idx="18">
                  <c:v>2.6209726412114103</c:v>
                </c:pt>
                <c:pt idx="19">
                  <c:v>3.0288723568966294</c:v>
                </c:pt>
                <c:pt idx="20">
                  <c:v>3.9574951138821293</c:v>
                </c:pt>
                <c:pt idx="21">
                  <c:v>4.8340455667376006</c:v>
                </c:pt>
                <c:pt idx="22">
                  <c:v>5.6151301286880209</c:v>
                </c:pt>
                <c:pt idx="23">
                  <c:v>5.7279534543030817</c:v>
                </c:pt>
                <c:pt idx="24">
                  <c:v>4.8600817188026149</c:v>
                </c:pt>
                <c:pt idx="25">
                  <c:v>4.0616397221421847</c:v>
                </c:pt>
                <c:pt idx="26">
                  <c:v>3.2371615734167416</c:v>
                </c:pt>
                <c:pt idx="27">
                  <c:v>2.4734344461763307</c:v>
                </c:pt>
                <c:pt idx="28">
                  <c:v>2.334574968496256</c:v>
                </c:pt>
                <c:pt idx="29">
                  <c:v>2.7337959668264706</c:v>
                </c:pt>
                <c:pt idx="30">
                  <c:v>3.5322379634869003</c:v>
                </c:pt>
                <c:pt idx="31">
                  <c:v>4.6170776328624843</c:v>
                </c:pt>
                <c:pt idx="32">
                  <c:v>5.3981621948129046</c:v>
                </c:pt>
                <c:pt idx="33">
                  <c:v>5.1204432394527544</c:v>
                </c:pt>
                <c:pt idx="34">
                  <c:v>3.7318484626520076</c:v>
                </c:pt>
                <c:pt idx="35">
                  <c:v>2.412683424691298</c:v>
                </c:pt>
                <c:pt idx="36">
                  <c:v>2.2130729255261907</c:v>
                </c:pt>
                <c:pt idx="37">
                  <c:v>2.3432536858512605</c:v>
                </c:pt>
                <c:pt idx="38">
                  <c:v>2.4994705982413445</c:v>
                </c:pt>
                <c:pt idx="39">
                  <c:v>2.6296513585664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35052818236573</c:v>
                </c:pt>
                <c:pt idx="21">
                  <c:v>13.58713566628723</c:v>
                </c:pt>
                <c:pt idx="22">
                  <c:v>14.961746088134598</c:v>
                </c:pt>
                <c:pt idx="23">
                  <c:v>15.382545196863381</c:v>
                </c:pt>
                <c:pt idx="24">
                  <c:v>14.28846751416854</c:v>
                </c:pt>
                <c:pt idx="25">
                  <c:v>11.744970679185659</c:v>
                </c:pt>
                <c:pt idx="26">
                  <c:v>8.8741856485248327</c:v>
                </c:pt>
                <c:pt idx="27">
                  <c:v>6.9198075657622509</c:v>
                </c:pt>
                <c:pt idx="28">
                  <c:v>5.3581753178132026</c:v>
                </c:pt>
                <c:pt idx="29">
                  <c:v>3.7684897959489012</c:v>
                </c:pt>
                <c:pt idx="30">
                  <c:v>3.0297535828472562</c:v>
                </c:pt>
                <c:pt idx="31">
                  <c:v>4.3950129133895377</c:v>
                </c:pt>
                <c:pt idx="32">
                  <c:v>6.5364128222538023</c:v>
                </c:pt>
                <c:pt idx="33">
                  <c:v>7.1068293918639336</c:v>
                </c:pt>
                <c:pt idx="34">
                  <c:v>6.676679191830063</c:v>
                </c:pt>
                <c:pt idx="35">
                  <c:v>5.8724853395928296</c:v>
                </c:pt>
                <c:pt idx="36">
                  <c:v>4.5446303742708842</c:v>
                </c:pt>
                <c:pt idx="37">
                  <c:v>3.6469256089828082</c:v>
                </c:pt>
                <c:pt idx="38">
                  <c:v>3.4505526915760414</c:v>
                </c:pt>
                <c:pt idx="39">
                  <c:v>3.02975358284725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General</c:formatCode>
                <c:ptCount val="40"/>
                <c:pt idx="0">
                  <c:v>0.68775774575649018</c:v>
                </c:pt>
                <c:pt idx="1">
                  <c:v>0.55555377303008058</c:v>
                </c:pt>
                <c:pt idx="2">
                  <c:v>0.42929155188688051</c:v>
                </c:pt>
                <c:pt idx="3">
                  <c:v>0.40255366976243806</c:v>
                </c:pt>
                <c:pt idx="4">
                  <c:v>0.66101986363204779</c:v>
                </c:pt>
                <c:pt idx="5">
                  <c:v>0.98038901122955391</c:v>
                </c:pt>
                <c:pt idx="6">
                  <c:v>1.256680459848792</c:v>
                </c:pt>
                <c:pt idx="7">
                  <c:v>1.9815741530003408</c:v>
                </c:pt>
                <c:pt idx="8">
                  <c:v>2.3989822017208025</c:v>
                </c:pt>
                <c:pt idx="9">
                  <c:v>2.1806228310378564</c:v>
                </c:pt>
                <c:pt idx="10">
                  <c:v>1.9845450287919457</c:v>
                </c:pt>
                <c:pt idx="11">
                  <c:v>1.6933992012146841</c:v>
                </c:pt>
                <c:pt idx="12">
                  <c:v>1.3784863673045851</c:v>
                </c:pt>
                <c:pt idx="13">
                  <c:v>1.1378454281846035</c:v>
                </c:pt>
                <c:pt idx="14">
                  <c:v>0.888291861689808</c:v>
                </c:pt>
                <c:pt idx="15">
                  <c:v>0.68627230786068771</c:v>
                </c:pt>
                <c:pt idx="16">
                  <c:v>0.61348585096637243</c:v>
                </c:pt>
                <c:pt idx="17">
                  <c:v>0.61645672675797714</c:v>
                </c:pt>
                <c:pt idx="18">
                  <c:v>0.67290336679846663</c:v>
                </c:pt>
                <c:pt idx="19">
                  <c:v>0.7397480721095725</c:v>
                </c:pt>
                <c:pt idx="20">
                  <c:v>0.87640835852338905</c:v>
                </c:pt>
                <c:pt idx="21">
                  <c:v>1.2046901334957094</c:v>
                </c:pt>
                <c:pt idx="22">
                  <c:v>1.6859720117356725</c:v>
                </c:pt>
                <c:pt idx="23">
                  <c:v>2.3781860711795693</c:v>
                </c:pt>
                <c:pt idx="24">
                  <c:v>3.0109826147913727</c:v>
                </c:pt>
                <c:pt idx="25">
                  <c:v>3.3897692782209732</c:v>
                </c:pt>
                <c:pt idx="26">
                  <c:v>3.822031705899458</c:v>
                </c:pt>
                <c:pt idx="27">
                  <c:v>4.346391283117689</c:v>
                </c:pt>
                <c:pt idx="28">
                  <c:v>4.6642749928193927</c:v>
                </c:pt>
                <c:pt idx="29">
                  <c:v>4.9999839572707252</c:v>
                </c:pt>
                <c:pt idx="30">
                  <c:v>5.7382465914844953</c:v>
                </c:pt>
                <c:pt idx="31">
                  <c:v>6.2611207308069243</c:v>
                </c:pt>
                <c:pt idx="32">
                  <c:v>6.3532178803466701</c:v>
                </c:pt>
                <c:pt idx="33">
                  <c:v>5.9476933347926275</c:v>
                </c:pt>
                <c:pt idx="34">
                  <c:v>4.936110127751224</c:v>
                </c:pt>
                <c:pt idx="35">
                  <c:v>3.9081871038559943</c:v>
                </c:pt>
                <c:pt idx="36">
                  <c:v>3.0258369937493961</c:v>
                </c:pt>
                <c:pt idx="37">
                  <c:v>2.5445551155094335</c:v>
                </c:pt>
                <c:pt idx="38">
                  <c:v>2.3856132606585816</c:v>
                </c:pt>
                <c:pt idx="39">
                  <c:v>2.360360816429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General</c:formatCode>
                <c:ptCount val="40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198366881792085</c:v>
                </c:pt>
                <c:pt idx="5">
                  <c:v>0.45438168812957846</c:v>
                </c:pt>
                <c:pt idx="6">
                  <c:v>0.61534346695038855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3726702459200895</c:v>
                </c:pt>
                <c:pt idx="19">
                  <c:v>1.1317625073338209</c:v>
                </c:pt>
                <c:pt idx="20">
                  <c:v>1.3279346752716834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2.9844996489691873</c:v>
                </c:pt>
                <c:pt idx="26">
                  <c:v>3.3617538180804609</c:v>
                </c:pt>
                <c:pt idx="27">
                  <c:v>4.0693149708136058</c:v>
                </c:pt>
                <c:pt idx="28">
                  <c:v>5.7979774079412634</c:v>
                </c:pt>
                <c:pt idx="29">
                  <c:v>7.5199331042847222</c:v>
                </c:pt>
                <c:pt idx="30">
                  <c:v>8.4588768140727808</c:v>
                </c:pt>
                <c:pt idx="31">
                  <c:v>8.7992439088709524</c:v>
                </c:pt>
                <c:pt idx="32">
                  <c:v>8.1587501639798123</c:v>
                </c:pt>
                <c:pt idx="33">
                  <c:v>7.0722581569393439</c:v>
                </c:pt>
                <c:pt idx="34">
                  <c:v>5.9438490199976224</c:v>
                </c:pt>
                <c:pt idx="35">
                  <c:v>4.8590336981532047</c:v>
                </c:pt>
                <c:pt idx="36">
                  <c:v>3.869789432483643</c:v>
                </c:pt>
                <c:pt idx="37">
                  <c:v>3.1823485021030997</c:v>
                </c:pt>
                <c:pt idx="38">
                  <c:v>3.2091754652399018</c:v>
                </c:pt>
                <c:pt idx="39">
                  <c:v>3.3516937069041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General</c:formatCode>
                <c:ptCount val="40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716120925416444</c:v>
                </c:pt>
                <c:pt idx="15">
                  <c:v>1.8731717383217978</c:v>
                </c:pt>
                <c:pt idx="16">
                  <c:v>3.3471429422471473</c:v>
                </c:pt>
                <c:pt idx="17">
                  <c:v>6.1415466830222885</c:v>
                </c:pt>
                <c:pt idx="18">
                  <c:v>10.696527139597151</c:v>
                </c:pt>
                <c:pt idx="19">
                  <c:v>15.640472219430093</c:v>
                </c:pt>
                <c:pt idx="20">
                  <c:v>19.182097473306278</c:v>
                </c:pt>
                <c:pt idx="21">
                  <c:v>22.938676861088243</c:v>
                </c:pt>
                <c:pt idx="22">
                  <c:v>26.357471181303985</c:v>
                </c:pt>
                <c:pt idx="23">
                  <c:v>26.214168425366797</c:v>
                </c:pt>
                <c:pt idx="24">
                  <c:v>22.867025483119654</c:v>
                </c:pt>
                <c:pt idx="25">
                  <c:v>18.946671517123757</c:v>
                </c:pt>
                <c:pt idx="26">
                  <c:v>15.057025284542975</c:v>
                </c:pt>
                <c:pt idx="27">
                  <c:v>11.566579586358642</c:v>
                </c:pt>
                <c:pt idx="28">
                  <c:v>9.4989255364078051</c:v>
                </c:pt>
                <c:pt idx="29">
                  <c:v>8.2194366441114948</c:v>
                </c:pt>
                <c:pt idx="30">
                  <c:v>8.6391090007846838</c:v>
                </c:pt>
                <c:pt idx="31">
                  <c:v>10.962660829194784</c:v>
                </c:pt>
                <c:pt idx="32">
                  <c:v>13.122438079390955</c:v>
                </c:pt>
                <c:pt idx="33">
                  <c:v>13.562582258340885</c:v>
                </c:pt>
                <c:pt idx="34">
                  <c:v>12.78465301182473</c:v>
                </c:pt>
                <c:pt idx="35">
                  <c:v>10.757942606427374</c:v>
                </c:pt>
                <c:pt idx="36">
                  <c:v>7.7997642874383057</c:v>
                </c:pt>
                <c:pt idx="37">
                  <c:v>5.9163566379781374</c:v>
                </c:pt>
                <c:pt idx="38">
                  <c:v>5.0463041912166471</c:v>
                </c:pt>
                <c:pt idx="39">
                  <c:v>4.2581390335621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0.28737459630933343</c:v>
                </c:pt>
                <c:pt idx="1">
                  <c:v>0.1923846669853278</c:v>
                </c:pt>
                <c:pt idx="2">
                  <c:v>0.14188369190167927</c:v>
                </c:pt>
                <c:pt idx="3">
                  <c:v>0.15150292525094566</c:v>
                </c:pt>
                <c:pt idx="4">
                  <c:v>0.14068128773302097</c:v>
                </c:pt>
                <c:pt idx="5">
                  <c:v>0.128657246046438</c:v>
                </c:pt>
                <c:pt idx="6">
                  <c:v>0.16352696693752863</c:v>
                </c:pt>
                <c:pt idx="7">
                  <c:v>0.24769525874360956</c:v>
                </c:pt>
                <c:pt idx="8">
                  <c:v>0.34989961307956496</c:v>
                </c:pt>
                <c:pt idx="9">
                  <c:v>0.52064100502904342</c:v>
                </c:pt>
                <c:pt idx="10">
                  <c:v>0.72024009702632097</c:v>
                </c:pt>
                <c:pt idx="11">
                  <c:v>0.91863678485494027</c:v>
                </c:pt>
                <c:pt idx="12">
                  <c:v>1.0232459475282123</c:v>
                </c:pt>
                <c:pt idx="13">
                  <c:v>0.96793535576993051</c:v>
                </c:pt>
                <c:pt idx="14">
                  <c:v>0.95110169740871431</c:v>
                </c:pt>
                <c:pt idx="15">
                  <c:v>1.029257968371504</c:v>
                </c:pt>
                <c:pt idx="16">
                  <c:v>1.2685363979345052</c:v>
                </c:pt>
                <c:pt idx="17">
                  <c:v>1.74589085289185</c:v>
                </c:pt>
                <c:pt idx="18">
                  <c:v>2.4637261415808545</c:v>
                </c:pt>
                <c:pt idx="19">
                  <c:v>3.3354691638581211</c:v>
                </c:pt>
                <c:pt idx="20">
                  <c:v>4.2757492237489112</c:v>
                </c:pt>
                <c:pt idx="21">
                  <c:v>5.3603177838786964</c:v>
                </c:pt>
                <c:pt idx="22">
                  <c:v>6.373944498057643</c:v>
                </c:pt>
                <c:pt idx="23">
                  <c:v>6.5639243567056536</c:v>
                </c:pt>
                <c:pt idx="24">
                  <c:v>6.1731430018917059</c:v>
                </c:pt>
                <c:pt idx="25">
                  <c:v>5.4372716506728276</c:v>
                </c:pt>
                <c:pt idx="26">
                  <c:v>4.3178333696519511</c:v>
                </c:pt>
                <c:pt idx="27">
                  <c:v>3.3498980138820209</c:v>
                </c:pt>
                <c:pt idx="28">
                  <c:v>2.5851689626153425</c:v>
                </c:pt>
                <c:pt idx="29">
                  <c:v>2.1438866327177468</c:v>
                </c:pt>
                <c:pt idx="30">
                  <c:v>2.0633255534176409</c:v>
                </c:pt>
                <c:pt idx="31">
                  <c:v>2.2833655162821098</c:v>
                </c:pt>
                <c:pt idx="32">
                  <c:v>2.7547079503961629</c:v>
                </c:pt>
                <c:pt idx="33">
                  <c:v>3.2609201054013064</c:v>
                </c:pt>
                <c:pt idx="34">
                  <c:v>3.4076134139776189</c:v>
                </c:pt>
                <c:pt idx="35">
                  <c:v>3.2621225095699646</c:v>
                </c:pt>
                <c:pt idx="36">
                  <c:v>3.0829642884398782</c:v>
                </c:pt>
                <c:pt idx="37">
                  <c:v>2.939878192369541</c:v>
                </c:pt>
                <c:pt idx="38">
                  <c:v>2.8521026880574851</c:v>
                </c:pt>
                <c:pt idx="39">
                  <c:v>2.16913712025957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General</c:formatCode>
                <c:ptCount val="40"/>
                <c:pt idx="0">
                  <c:v>0.17233866731083031</c:v>
                </c:pt>
                <c:pt idx="1">
                  <c:v>0.1436155560923586</c:v>
                </c:pt>
                <c:pt idx="2">
                  <c:v>0.11489244487388686</c:v>
                </c:pt>
                <c:pt idx="3">
                  <c:v>0.1953171562856077</c:v>
                </c:pt>
                <c:pt idx="4">
                  <c:v>0.30446497891580021</c:v>
                </c:pt>
                <c:pt idx="5">
                  <c:v>0.39637893481490971</c:v>
                </c:pt>
                <c:pt idx="6">
                  <c:v>0.45956977949554745</c:v>
                </c:pt>
                <c:pt idx="7">
                  <c:v>0.48254826847032484</c:v>
                </c:pt>
                <c:pt idx="8">
                  <c:v>0.50552675744510223</c:v>
                </c:pt>
                <c:pt idx="9">
                  <c:v>0.48829289071401916</c:v>
                </c:pt>
                <c:pt idx="10">
                  <c:v>0.4193574237896871</c:v>
                </c:pt>
                <c:pt idx="11">
                  <c:v>0.44233591276446449</c:v>
                </c:pt>
                <c:pt idx="12">
                  <c:v>0.46531440173924177</c:v>
                </c:pt>
                <c:pt idx="13">
                  <c:v>0.39063431257121539</c:v>
                </c:pt>
                <c:pt idx="14">
                  <c:v>0.31020960115949459</c:v>
                </c:pt>
                <c:pt idx="15">
                  <c:v>0.3791450680838267</c:v>
                </c:pt>
                <c:pt idx="16">
                  <c:v>0.6319084468063777</c:v>
                </c:pt>
                <c:pt idx="17">
                  <c:v>0.93637342572217797</c:v>
                </c:pt>
                <c:pt idx="18">
                  <c:v>1.4189216941925029</c:v>
                </c:pt>
                <c:pt idx="19">
                  <c:v>1.8382791179821898</c:v>
                </c:pt>
                <c:pt idx="20">
                  <c:v>2.3208273864525149</c:v>
                </c:pt>
                <c:pt idx="21">
                  <c:v>3.349114768073802</c:v>
                </c:pt>
                <c:pt idx="22">
                  <c:v>4.0097463260986519</c:v>
                </c:pt>
                <c:pt idx="23">
                  <c:v>4.5497408170059206</c:v>
                </c:pt>
                <c:pt idx="24">
                  <c:v>4.5784639282243917</c:v>
                </c:pt>
                <c:pt idx="25">
                  <c:v>3.4697518351913836</c:v>
                </c:pt>
                <c:pt idx="26">
                  <c:v>2.8320987661413115</c:v>
                </c:pt>
                <c:pt idx="27">
                  <c:v>2.0967871189484355</c:v>
                </c:pt>
                <c:pt idx="28">
                  <c:v>1.1259459597640913</c:v>
                </c:pt>
                <c:pt idx="29">
                  <c:v>0.72956702494918169</c:v>
                </c:pt>
                <c:pt idx="30">
                  <c:v>0.64339769129376645</c:v>
                </c:pt>
                <c:pt idx="31">
                  <c:v>0.68361004699962691</c:v>
                </c:pt>
                <c:pt idx="32">
                  <c:v>0.75829013616765339</c:v>
                </c:pt>
                <c:pt idx="33">
                  <c:v>0.91339493674740058</c:v>
                </c:pt>
                <c:pt idx="34">
                  <c:v>0.87892720328523466</c:v>
                </c:pt>
                <c:pt idx="35">
                  <c:v>0.71233315821809862</c:v>
                </c:pt>
                <c:pt idx="36">
                  <c:v>0.92488418123478922</c:v>
                </c:pt>
                <c:pt idx="37">
                  <c:v>1.085733604058231</c:v>
                </c:pt>
                <c:pt idx="38">
                  <c:v>1.0914782263019254</c:v>
                </c:pt>
                <c:pt idx="39">
                  <c:v>1.2638168936127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General</c:formatCode>
                <c:ptCount val="40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94694855685492</c:v>
                </c:pt>
                <c:pt idx="28">
                  <c:v>12.445289070817962</c:v>
                </c:pt>
                <c:pt idx="29">
                  <c:v>10.804007298777405</c:v>
                </c:pt>
                <c:pt idx="30">
                  <c:v>7.518809273521267</c:v>
                </c:pt>
                <c:pt idx="31">
                  <c:v>7.1868646454681206</c:v>
                </c:pt>
                <c:pt idx="32">
                  <c:v>7.7480091357484397</c:v>
                </c:pt>
                <c:pt idx="33">
                  <c:v>8.4988362706305569</c:v>
                </c:pt>
                <c:pt idx="34">
                  <c:v>8.4224363165548315</c:v>
                </c:pt>
                <c:pt idx="35">
                  <c:v>7.2026715325182709</c:v>
                </c:pt>
                <c:pt idx="36">
                  <c:v>5.6035414592781132</c:v>
                </c:pt>
                <c:pt idx="37">
                  <c:v>4.4022180434667257</c:v>
                </c:pt>
                <c:pt idx="38">
                  <c:v>3.6487564274095843</c:v>
                </c:pt>
                <c:pt idx="39">
                  <c:v>2.9637913219030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0.25839607489621463</c:v>
                </c:pt>
                <c:pt idx="1">
                  <c:v>0.14604995537612134</c:v>
                </c:pt>
                <c:pt idx="2">
                  <c:v>6.7407671712056E-2</c:v>
                </c:pt>
                <c:pt idx="3">
                  <c:v>0.10111150756808399</c:v>
                </c:pt>
                <c:pt idx="4">
                  <c:v>0.10111150756808399</c:v>
                </c:pt>
                <c:pt idx="5">
                  <c:v>0.14604995537612134</c:v>
                </c:pt>
                <c:pt idx="6">
                  <c:v>0.20222301513616797</c:v>
                </c:pt>
                <c:pt idx="7">
                  <c:v>0.17975379123214932</c:v>
                </c:pt>
                <c:pt idx="8">
                  <c:v>0.38197680636831727</c:v>
                </c:pt>
                <c:pt idx="9">
                  <c:v>0.73024977688060666</c:v>
                </c:pt>
                <c:pt idx="10">
                  <c:v>0.88753434420873734</c:v>
                </c:pt>
                <c:pt idx="11">
                  <c:v>1.2133380908170079</c:v>
                </c:pt>
                <c:pt idx="12">
                  <c:v>1.5054380015692506</c:v>
                </c:pt>
                <c:pt idx="13">
                  <c:v>1.4492649418092038</c:v>
                </c:pt>
                <c:pt idx="14">
                  <c:v>1.3930918820491573</c:v>
                </c:pt>
                <c:pt idx="15">
                  <c:v>1.5953148971853253</c:v>
                </c:pt>
                <c:pt idx="16">
                  <c:v>1.7975379123214932</c:v>
                </c:pt>
                <c:pt idx="17">
                  <c:v>2.0334647633136891</c:v>
                </c:pt>
                <c:pt idx="18">
                  <c:v>2.9209991075224266</c:v>
                </c:pt>
                <c:pt idx="19">
                  <c:v>4.9881677066921437</c:v>
                </c:pt>
                <c:pt idx="20">
                  <c:v>6.8868171265817208</c:v>
                </c:pt>
                <c:pt idx="21">
                  <c:v>8.1675628891107852</c:v>
                </c:pt>
                <c:pt idx="22">
                  <c:v>8.9989241735594749</c:v>
                </c:pt>
                <c:pt idx="23">
                  <c:v>8.2237359488708304</c:v>
                </c:pt>
                <c:pt idx="24">
                  <c:v>6.257678857269199</c:v>
                </c:pt>
                <c:pt idx="25">
                  <c:v>3.9882872429633132</c:v>
                </c:pt>
                <c:pt idx="26">
                  <c:v>2.6288991967701838</c:v>
                </c:pt>
                <c:pt idx="27">
                  <c:v>2.1345762708817735</c:v>
                </c:pt>
                <c:pt idx="28">
                  <c:v>1.7301302406094374</c:v>
                </c:pt>
                <c:pt idx="29">
                  <c:v>1.6627225688973812</c:v>
                </c:pt>
                <c:pt idx="30">
                  <c:v>2.0334647633136891</c:v>
                </c:pt>
                <c:pt idx="31">
                  <c:v>2.6513684206742028</c:v>
                </c:pt>
                <c:pt idx="32">
                  <c:v>3.4377912573148559</c:v>
                </c:pt>
                <c:pt idx="33">
                  <c:v>4.0669295266273782</c:v>
                </c:pt>
                <c:pt idx="34">
                  <c:v>4.4826101688517239</c:v>
                </c:pt>
                <c:pt idx="35">
                  <c:v>4.7859446915559758</c:v>
                </c:pt>
                <c:pt idx="36">
                  <c:v>4.5163140047077519</c:v>
                </c:pt>
                <c:pt idx="37">
                  <c:v>4.6398947361798548</c:v>
                </c:pt>
                <c:pt idx="38">
                  <c:v>5.2577983935403676</c:v>
                </c:pt>
                <c:pt idx="39">
                  <c:v>5.07804460230821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L$2:$L$41</c:f>
              <c:numCache>
                <c:formatCode>General</c:formatCode>
                <c:ptCount val="40"/>
                <c:pt idx="0">
                  <c:v>0.31147665033612915</c:v>
                </c:pt>
                <c:pt idx="1">
                  <c:v>0.21986587082550288</c:v>
                </c:pt>
                <c:pt idx="2">
                  <c:v>0.25651018262975339</c:v>
                </c:pt>
                <c:pt idx="3">
                  <c:v>0.23818802672762815</c:v>
                </c:pt>
                <c:pt idx="4">
                  <c:v>0.23818802672762815</c:v>
                </c:pt>
                <c:pt idx="5">
                  <c:v>0.1282550913148767</c:v>
                </c:pt>
                <c:pt idx="6">
                  <c:v>7.3288623608500969E-2</c:v>
                </c:pt>
                <c:pt idx="7">
                  <c:v>0.10993293541275144</c:v>
                </c:pt>
                <c:pt idx="8">
                  <c:v>7.3288623608500969E-2</c:v>
                </c:pt>
                <c:pt idx="9">
                  <c:v>7.3288623608500969E-2</c:v>
                </c:pt>
                <c:pt idx="10">
                  <c:v>0.21986587082550288</c:v>
                </c:pt>
                <c:pt idx="11">
                  <c:v>0.40308742984675533</c:v>
                </c:pt>
                <c:pt idx="12">
                  <c:v>0.65959761247650872</c:v>
                </c:pt>
                <c:pt idx="13">
                  <c:v>1.8871820579188998</c:v>
                </c:pt>
                <c:pt idx="14">
                  <c:v>2.5467796703954084</c:v>
                </c:pt>
                <c:pt idx="15">
                  <c:v>3.2613437505782934</c:v>
                </c:pt>
                <c:pt idx="16">
                  <c:v>3.3346323741867936</c:v>
                </c:pt>
                <c:pt idx="17">
                  <c:v>3.4995317773059207</c:v>
                </c:pt>
                <c:pt idx="18">
                  <c:v>6.4493988775480853</c:v>
                </c:pt>
                <c:pt idx="19">
                  <c:v>10.132152213875258</c:v>
                </c:pt>
                <c:pt idx="20">
                  <c:v>11.909401336381407</c:v>
                </c:pt>
                <c:pt idx="21">
                  <c:v>13.613361835279056</c:v>
                </c:pt>
                <c:pt idx="22">
                  <c:v>17.974034939984861</c:v>
                </c:pt>
                <c:pt idx="23">
                  <c:v>19.677995438882508</c:v>
                </c:pt>
                <c:pt idx="24">
                  <c:v>21.400278093682282</c:v>
                </c:pt>
                <c:pt idx="25">
                  <c:v>18.871820579188999</c:v>
                </c:pt>
                <c:pt idx="26">
                  <c:v>12.312488766228164</c:v>
                </c:pt>
                <c:pt idx="27">
                  <c:v>9.9672528107561327</c:v>
                </c:pt>
                <c:pt idx="28">
                  <c:v>11.213159412100648</c:v>
                </c:pt>
                <c:pt idx="29">
                  <c:v>12.568998948857915</c:v>
                </c:pt>
                <c:pt idx="30">
                  <c:v>8.7579905212158664</c:v>
                </c:pt>
                <c:pt idx="31">
                  <c:v>5.4600024588333218</c:v>
                </c:pt>
                <c:pt idx="32">
                  <c:v>5.0385928730844416</c:v>
                </c:pt>
                <c:pt idx="33">
                  <c:v>5.1118814966929422</c:v>
                </c:pt>
                <c:pt idx="34">
                  <c:v>6.9624192428075924</c:v>
                </c:pt>
                <c:pt idx="35">
                  <c:v>8.2816144677606101</c:v>
                </c:pt>
                <c:pt idx="36">
                  <c:v>8.5198024944882373</c:v>
                </c:pt>
                <c:pt idx="37">
                  <c:v>7.860204882011729</c:v>
                </c:pt>
                <c:pt idx="38">
                  <c:v>6.2661773185268324</c:v>
                </c:pt>
                <c:pt idx="39">
                  <c:v>5.6249018619524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1</c:f>
              <c:numCache>
                <c:formatCode>General</c:formatCode>
                <c:ptCount val="40"/>
                <c:pt idx="0">
                  <c:v>0.43099246536436803</c:v>
                </c:pt>
                <c:pt idx="1">
                  <c:v>0.37394934494849574</c:v>
                </c:pt>
                <c:pt idx="2">
                  <c:v>0.54296599803256163</c:v>
                </c:pt>
                <c:pt idx="3">
                  <c:v>1.1577640736258512</c:v>
                </c:pt>
                <c:pt idx="4">
                  <c:v>1.9774948410835707</c:v>
                </c:pt>
                <c:pt idx="5">
                  <c:v>2.6387724962749783</c:v>
                </c:pt>
                <c:pt idx="6">
                  <c:v>3.1458224555271759</c:v>
                </c:pt>
                <c:pt idx="7">
                  <c:v>3.185963910634642</c:v>
                </c:pt>
                <c:pt idx="8">
                  <c:v>2.8415924799758576</c:v>
                </c:pt>
                <c:pt idx="9">
                  <c:v>2.478206675845116</c:v>
                </c:pt>
                <c:pt idx="10">
                  <c:v>2.023974420681689</c:v>
                </c:pt>
                <c:pt idx="11">
                  <c:v>1.6288979940976849</c:v>
                </c:pt>
                <c:pt idx="12">
                  <c:v>1.2401596920043334</c:v>
                </c:pt>
                <c:pt idx="13">
                  <c:v>0.87254847154649007</c:v>
                </c:pt>
                <c:pt idx="14">
                  <c:v>0.67817932049981444</c:v>
                </c:pt>
                <c:pt idx="15">
                  <c:v>0.55986766334096827</c:v>
                </c:pt>
                <c:pt idx="16">
                  <c:v>0.50493725108864684</c:v>
                </c:pt>
                <c:pt idx="17">
                  <c:v>0.45423225516342708</c:v>
                </c:pt>
                <c:pt idx="18">
                  <c:v>0.41197809189241058</c:v>
                </c:pt>
                <c:pt idx="19">
                  <c:v>0.53662787354190922</c:v>
                </c:pt>
                <c:pt idx="20">
                  <c:v>0.64648869804655207</c:v>
                </c:pt>
                <c:pt idx="21">
                  <c:v>0.69930640213532258</c:v>
                </c:pt>
                <c:pt idx="22">
                  <c:v>0.96339492257917547</c:v>
                </c:pt>
                <c:pt idx="23">
                  <c:v>1.2781884389482483</c:v>
                </c:pt>
                <c:pt idx="24">
                  <c:v>1.6901665308406588</c:v>
                </c:pt>
                <c:pt idx="25">
                  <c:v>2.1549623268218401</c:v>
                </c:pt>
                <c:pt idx="26">
                  <c:v>2.6155327064759195</c:v>
                </c:pt>
                <c:pt idx="27">
                  <c:v>3.344417022900954</c:v>
                </c:pt>
                <c:pt idx="28">
                  <c:v>4.5317590108165167</c:v>
                </c:pt>
                <c:pt idx="29">
                  <c:v>5.7212137068956306</c:v>
                </c:pt>
                <c:pt idx="30">
                  <c:v>6.5198173927178411</c:v>
                </c:pt>
                <c:pt idx="31">
                  <c:v>6.7965821621429994</c:v>
                </c:pt>
                <c:pt idx="32">
                  <c:v>6.1500934640964466</c:v>
                </c:pt>
                <c:pt idx="33">
                  <c:v>4.6479579598118113</c:v>
                </c:pt>
                <c:pt idx="34">
                  <c:v>3.1458224555271759</c:v>
                </c:pt>
                <c:pt idx="35">
                  <c:v>2.3472187697049649</c:v>
                </c:pt>
                <c:pt idx="36">
                  <c:v>1.9246771369948004</c:v>
                </c:pt>
                <c:pt idx="37">
                  <c:v>1.4746702981584749</c:v>
                </c:pt>
                <c:pt idx="38">
                  <c:v>0.94226784094366733</c:v>
                </c:pt>
                <c:pt idx="39">
                  <c:v>0.35282226331298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402A-4B81-99E3-A430AA945502}"/>
              </c:ext>
            </c:extLst>
          </c:dPt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General</c:formatCode>
                <c:ptCount val="40"/>
                <c:pt idx="0">
                  <c:v>0.42609548009228287</c:v>
                </c:pt>
                <c:pt idx="1">
                  <c:v>0.62591956730797416</c:v>
                </c:pt>
                <c:pt idx="2">
                  <c:v>0.90067768722954977</c:v>
                </c:pt>
                <c:pt idx="3">
                  <c:v>1.257716313651704</c:v>
                </c:pt>
                <c:pt idx="4">
                  <c:v>1.6279785929043082</c:v>
                </c:pt>
                <c:pt idx="5">
                  <c:v>1.7837238373518325</c:v>
                </c:pt>
                <c:pt idx="6">
                  <c:v>1.8410263329504497</c:v>
                </c:pt>
                <c:pt idx="7">
                  <c:v>2.0467275992018967</c:v>
                </c:pt>
                <c:pt idx="8">
                  <c:v>2.3141392453287777</c:v>
                </c:pt>
                <c:pt idx="9">
                  <c:v>2.5536342910358192</c:v>
                </c:pt>
                <c:pt idx="10">
                  <c:v>2.8460239480646621</c:v>
                </c:pt>
                <c:pt idx="11">
                  <c:v>2.9591596445029578</c:v>
                </c:pt>
                <c:pt idx="12">
                  <c:v>2.7637434415640829</c:v>
                </c:pt>
                <c:pt idx="13">
                  <c:v>2.4860467321246298</c:v>
                </c:pt>
                <c:pt idx="14">
                  <c:v>2.3200164243645336</c:v>
                </c:pt>
                <c:pt idx="15">
                  <c:v>2.4860467321246298</c:v>
                </c:pt>
                <c:pt idx="16">
                  <c:v>2.8342695899931507</c:v>
                </c:pt>
                <c:pt idx="17">
                  <c:v>3.2295098801477167</c:v>
                </c:pt>
                <c:pt idx="18">
                  <c:v>3.4190489040508356</c:v>
                </c:pt>
                <c:pt idx="19">
                  <c:v>3.1633916159954656</c:v>
                </c:pt>
                <c:pt idx="20">
                  <c:v>2.8680633694487456</c:v>
                </c:pt>
                <c:pt idx="21">
                  <c:v>2.671177871750932</c:v>
                </c:pt>
                <c:pt idx="22">
                  <c:v>2.5080861535087133</c:v>
                </c:pt>
                <c:pt idx="23">
                  <c:v>2.4243363522491954</c:v>
                </c:pt>
                <c:pt idx="24">
                  <c:v>2.3479330247843726</c:v>
                </c:pt>
                <c:pt idx="25">
                  <c:v>2.3582180880969448</c:v>
                </c:pt>
                <c:pt idx="28">
                  <c:v>5.1807333200185841</c:v>
                </c:pt>
                <c:pt idx="29">
                  <c:v>5.5318947674049834</c:v>
                </c:pt>
                <c:pt idx="30">
                  <c:v>4.4989805518709316</c:v>
                </c:pt>
                <c:pt idx="31">
                  <c:v>3.9494643120277808</c:v>
                </c:pt>
                <c:pt idx="32">
                  <c:v>4.0567228294303206</c:v>
                </c:pt>
                <c:pt idx="33">
                  <c:v>3.3250140394787451</c:v>
                </c:pt>
                <c:pt idx="34">
                  <c:v>2.5800815966967199</c:v>
                </c:pt>
                <c:pt idx="35">
                  <c:v>2.3009155924983276</c:v>
                </c:pt>
                <c:pt idx="36">
                  <c:v>2.5242483958570414</c:v>
                </c:pt>
                <c:pt idx="37">
                  <c:v>2.231858738828199</c:v>
                </c:pt>
                <c:pt idx="38">
                  <c:v>2.0202802935409965</c:v>
                </c:pt>
                <c:pt idx="39">
                  <c:v>3.1060891203968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I$2:$I$41</c:f>
              <c:numCache>
                <c:formatCode>General</c:formatCode>
                <c:ptCount val="40"/>
                <c:pt idx="0">
                  <c:v>0.1735743471000934</c:v>
                </c:pt>
                <c:pt idx="1">
                  <c:v>8.6787173550046698E-2</c:v>
                </c:pt>
                <c:pt idx="2">
                  <c:v>6.0751021485032683E-2</c:v>
                </c:pt>
                <c:pt idx="3">
                  <c:v>9.5465890905051351E-2</c:v>
                </c:pt>
                <c:pt idx="4">
                  <c:v>0.18225306445509803</c:v>
                </c:pt>
                <c:pt idx="5">
                  <c:v>0.19961049916510737</c:v>
                </c:pt>
                <c:pt idx="6">
                  <c:v>0.1909317818101027</c:v>
                </c:pt>
                <c:pt idx="7">
                  <c:v>0.35582741155519143</c:v>
                </c:pt>
                <c:pt idx="8">
                  <c:v>0.2777189553601494</c:v>
                </c:pt>
                <c:pt idx="9">
                  <c:v>0.34714869420018679</c:v>
                </c:pt>
                <c:pt idx="10">
                  <c:v>0.41657843304022413</c:v>
                </c:pt>
                <c:pt idx="11">
                  <c:v>0.3384699768451821</c:v>
                </c:pt>
                <c:pt idx="12">
                  <c:v>0.46865073717025213</c:v>
                </c:pt>
                <c:pt idx="13">
                  <c:v>0.48600817188026146</c:v>
                </c:pt>
                <c:pt idx="14">
                  <c:v>0.53808047601028952</c:v>
                </c:pt>
                <c:pt idx="15">
                  <c:v>0.78976327930542489</c:v>
                </c:pt>
                <c:pt idx="16">
                  <c:v>0.93730147434050426</c:v>
                </c:pt>
                <c:pt idx="17">
                  <c:v>1.2931288858956957</c:v>
                </c:pt>
                <c:pt idx="18">
                  <c:v>1.3278437553157143</c:v>
                </c:pt>
                <c:pt idx="19">
                  <c:v>1.7010286015809153</c:v>
                </c:pt>
                <c:pt idx="20">
                  <c:v>2.256466512301214</c:v>
                </c:pt>
                <c:pt idx="21">
                  <c:v>2.5775790544363866</c:v>
                </c:pt>
                <c:pt idx="22">
                  <c:v>3.0375510742516338</c:v>
                </c:pt>
                <c:pt idx="23">
                  <c:v>2.6904023800514474</c:v>
                </c:pt>
                <c:pt idx="24">
                  <c:v>2.1696793387511675</c:v>
                </c:pt>
                <c:pt idx="25">
                  <c:v>1.8919603833910179</c:v>
                </c:pt>
                <c:pt idx="26">
                  <c:v>1.3452011900257237</c:v>
                </c:pt>
                <c:pt idx="27">
                  <c:v>1.128233256150607</c:v>
                </c:pt>
                <c:pt idx="28">
                  <c:v>1.206341712345649</c:v>
                </c:pt>
                <c:pt idx="29">
                  <c:v>1.5274542544808216</c:v>
                </c:pt>
                <c:pt idx="30">
                  <c:v>2.0047837090060785</c:v>
                </c:pt>
                <c:pt idx="31">
                  <c:v>2.6122939238564054</c:v>
                </c:pt>
                <c:pt idx="32">
                  <c:v>2.7858682709564988</c:v>
                </c:pt>
                <c:pt idx="33">
                  <c:v>2.334574968496256</c:v>
                </c:pt>
                <c:pt idx="34">
                  <c:v>1.3972734941557516</c:v>
                </c:pt>
                <c:pt idx="35">
                  <c:v>1.0154099305355462</c:v>
                </c:pt>
                <c:pt idx="36">
                  <c:v>1.1976629949906443</c:v>
                </c:pt>
                <c:pt idx="37">
                  <c:v>1.1455906908606164</c:v>
                </c:pt>
                <c:pt idx="38">
                  <c:v>1.3538799073807284</c:v>
                </c:pt>
                <c:pt idx="39">
                  <c:v>1.2757714511856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C$2:$C$41</c:f>
              <c:numCache>
                <c:formatCode>General</c:formatCode>
                <c:ptCount val="40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988101484401584</c:v>
                </c:pt>
                <c:pt idx="23">
                  <c:v>7.5837350484232235</c:v>
                </c:pt>
                <c:pt idx="24">
                  <c:v>6.7047324657453169</c:v>
                </c:pt>
                <c:pt idx="25">
                  <c:v>5.0402382134403423</c:v>
                </c:pt>
                <c:pt idx="26">
                  <c:v>3.8339474350844904</c:v>
                </c:pt>
                <c:pt idx="27">
                  <c:v>3.0858601306777604</c:v>
                </c:pt>
                <c:pt idx="28">
                  <c:v>2.2723151871354421</c:v>
                </c:pt>
                <c:pt idx="29">
                  <c:v>1.4961746088134598</c:v>
                </c:pt>
                <c:pt idx="30">
                  <c:v>1.5335789740337964</c:v>
                </c:pt>
                <c:pt idx="31">
                  <c:v>2.8614339393557415</c:v>
                </c:pt>
                <c:pt idx="32">
                  <c:v>3.6749788828980599</c:v>
                </c:pt>
                <c:pt idx="33">
                  <c:v>3.4318505089658728</c:v>
                </c:pt>
                <c:pt idx="34">
                  <c:v>3.2448286828641906</c:v>
                </c:pt>
                <c:pt idx="35">
                  <c:v>2.6276566567286386</c:v>
                </c:pt>
                <c:pt idx="36">
                  <c:v>1.9169737175422452</c:v>
                </c:pt>
                <c:pt idx="37">
                  <c:v>1.7299518914405627</c:v>
                </c:pt>
                <c:pt idx="38">
                  <c:v>1.7206008001354784</c:v>
                </c:pt>
                <c:pt idx="39">
                  <c:v>1.3091527827117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D$2:$D$41</c:f>
              <c:numCache>
                <c:formatCode>General</c:formatCode>
                <c:ptCount val="40"/>
                <c:pt idx="0">
                  <c:v>0.3104565202226921</c:v>
                </c:pt>
                <c:pt idx="1">
                  <c:v>0.24509725280738848</c:v>
                </c:pt>
                <c:pt idx="2">
                  <c:v>0.18419429907949197</c:v>
                </c:pt>
                <c:pt idx="3">
                  <c:v>0.21835937068294611</c:v>
                </c:pt>
                <c:pt idx="4">
                  <c:v>0.44266049294910165</c:v>
                </c:pt>
                <c:pt idx="5">
                  <c:v>0.53772851828045243</c:v>
                </c:pt>
                <c:pt idx="6">
                  <c:v>0.71895194156833953</c:v>
                </c:pt>
                <c:pt idx="7">
                  <c:v>1.2626222114320014</c:v>
                </c:pt>
                <c:pt idx="8">
                  <c:v>1.1363599902888013</c:v>
                </c:pt>
                <c:pt idx="9">
                  <c:v>1.0442628407490551</c:v>
                </c:pt>
                <c:pt idx="10">
                  <c:v>0.94028218804289032</c:v>
                </c:pt>
                <c:pt idx="11">
                  <c:v>0.7531170131717938</c:v>
                </c:pt>
                <c:pt idx="12">
                  <c:v>0.62536935413279127</c:v>
                </c:pt>
                <c:pt idx="13">
                  <c:v>0.51247607405181228</c:v>
                </c:pt>
                <c:pt idx="14">
                  <c:v>0.37581578763799567</c:v>
                </c:pt>
                <c:pt idx="15">
                  <c:v>0.3104565202226921</c:v>
                </c:pt>
                <c:pt idx="16">
                  <c:v>0.30302933074368033</c:v>
                </c:pt>
                <c:pt idx="17">
                  <c:v>0.31342739601429681</c:v>
                </c:pt>
                <c:pt idx="18">
                  <c:v>0.35947597078416976</c:v>
                </c:pt>
                <c:pt idx="19">
                  <c:v>0.38027210132540279</c:v>
                </c:pt>
                <c:pt idx="20">
                  <c:v>0.49613625719798643</c:v>
                </c:pt>
                <c:pt idx="21">
                  <c:v>0.70855387629772315</c:v>
                </c:pt>
                <c:pt idx="22">
                  <c:v>0.97741813543794931</c:v>
                </c:pt>
                <c:pt idx="23">
                  <c:v>1.4007679357416203</c:v>
                </c:pt>
                <c:pt idx="24">
                  <c:v>1.6102146790497522</c:v>
                </c:pt>
                <c:pt idx="25">
                  <c:v>1.7795545991712207</c:v>
                </c:pt>
                <c:pt idx="26">
                  <c:v>2.0424771067282372</c:v>
                </c:pt>
                <c:pt idx="27">
                  <c:v>2.3039141763894517</c:v>
                </c:pt>
                <c:pt idx="28">
                  <c:v>2.360360816429941</c:v>
                </c:pt>
                <c:pt idx="29">
                  <c:v>2.6396231408407842</c:v>
                </c:pt>
                <c:pt idx="30">
                  <c:v>3.0986234506437116</c:v>
                </c:pt>
                <c:pt idx="31">
                  <c:v>3.1624972801632132</c:v>
                </c:pt>
                <c:pt idx="32">
                  <c:v>3.1907206001834574</c:v>
                </c:pt>
                <c:pt idx="33">
                  <c:v>2.7569727346091701</c:v>
                </c:pt>
                <c:pt idx="34">
                  <c:v>2.1791373931420543</c:v>
                </c:pt>
                <c:pt idx="35">
                  <c:v>1.7290497107139406</c:v>
                </c:pt>
                <c:pt idx="36">
                  <c:v>1.2967872830354554</c:v>
                </c:pt>
                <c:pt idx="37">
                  <c:v>1.2477678324739778</c:v>
                </c:pt>
                <c:pt idx="38">
                  <c:v>1.1378454281846035</c:v>
                </c:pt>
                <c:pt idx="39">
                  <c:v>1.2225153882453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F$2:$F$41</c:f>
              <c:numCache>
                <c:formatCode>General</c:formatCode>
                <c:ptCount val="40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449548274181222</c:v>
                </c:pt>
                <c:pt idx="5">
                  <c:v>0.2598862053877663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7785528087427998</c:v>
                </c:pt>
                <c:pt idx="19">
                  <c:v>0.65390722645954102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26384640168602</c:v>
                </c:pt>
                <c:pt idx="26">
                  <c:v>1.735369177911859</c:v>
                </c:pt>
                <c:pt idx="27">
                  <c:v>2.3339457929017464</c:v>
                </c:pt>
                <c:pt idx="28">
                  <c:v>3.4640316150395178</c:v>
                </c:pt>
                <c:pt idx="29">
                  <c:v>4.0559014892452048</c:v>
                </c:pt>
                <c:pt idx="30">
                  <c:v>4.4029753248275769</c:v>
                </c:pt>
                <c:pt idx="31">
                  <c:v>4.3962685840433755</c:v>
                </c:pt>
                <c:pt idx="32">
                  <c:v>3.7624815799364359</c:v>
                </c:pt>
                <c:pt idx="33">
                  <c:v>3.3097765770029079</c:v>
                </c:pt>
                <c:pt idx="34">
                  <c:v>2.6340724429947153</c:v>
                </c:pt>
                <c:pt idx="35">
                  <c:v>2.2249612551584899</c:v>
                </c:pt>
                <c:pt idx="36">
                  <c:v>1.6448281773251534</c:v>
                </c:pt>
                <c:pt idx="37">
                  <c:v>1.5375203247779465</c:v>
                </c:pt>
                <c:pt idx="38">
                  <c:v>1.6716551404619548</c:v>
                </c:pt>
                <c:pt idx="39">
                  <c:v>1.6800385664422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K$2:$K$41</c:f>
              <c:numCache>
                <c:formatCode>General</c:formatCode>
                <c:ptCount val="40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5509831285571074</c:v>
                </c:pt>
                <c:pt idx="15">
                  <c:v>1.218073425466087</c:v>
                </c:pt>
                <c:pt idx="16">
                  <c:v>2.12906951678106</c:v>
                </c:pt>
                <c:pt idx="17">
                  <c:v>4.0124771662412284</c:v>
                </c:pt>
                <c:pt idx="18">
                  <c:v>6.6840499733559238</c:v>
                </c:pt>
                <c:pt idx="19">
                  <c:v>8.9564222460741689</c:v>
                </c:pt>
                <c:pt idx="20">
                  <c:v>10.225675227232109</c:v>
                </c:pt>
                <c:pt idx="21">
                  <c:v>12.713001633856134</c:v>
                </c:pt>
                <c:pt idx="22">
                  <c:v>13.644469547447848</c:v>
                </c:pt>
                <c:pt idx="23">
                  <c:v>12.569698877918951</c:v>
                </c:pt>
                <c:pt idx="24">
                  <c:v>10.297326605200702</c:v>
                </c:pt>
                <c:pt idx="25">
                  <c:v>8.6493449119230554</c:v>
                </c:pt>
                <c:pt idx="26">
                  <c:v>6.4076803726199199</c:v>
                </c:pt>
                <c:pt idx="27">
                  <c:v>5.1588992137387217</c:v>
                </c:pt>
                <c:pt idx="28">
                  <c:v>4.3400263226690834</c:v>
                </c:pt>
                <c:pt idx="29">
                  <c:v>3.8794103214424118</c:v>
                </c:pt>
                <c:pt idx="30">
                  <c:v>4.7596986793422724</c:v>
                </c:pt>
                <c:pt idx="31">
                  <c:v>6.2029621498525103</c:v>
                </c:pt>
                <c:pt idx="32">
                  <c:v>6.9194759295384447</c:v>
                </c:pt>
                <c:pt idx="33">
                  <c:v>6.6431063288024417</c:v>
                </c:pt>
                <c:pt idx="34">
                  <c:v>6.1415466830222885</c:v>
                </c:pt>
                <c:pt idx="35">
                  <c:v>4.6163959234050864</c:v>
                </c:pt>
                <c:pt idx="36">
                  <c:v>3.1833683640332193</c:v>
                </c:pt>
                <c:pt idx="37">
                  <c:v>2.7329882739449181</c:v>
                </c:pt>
                <c:pt idx="38">
                  <c:v>2.3133159172717286</c:v>
                </c:pt>
                <c:pt idx="39">
                  <c:v>1.9448231162903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E$2:$E$41</c:f>
              <c:numCache>
                <c:formatCode>General</c:formatCode>
                <c:ptCount val="40"/>
                <c:pt idx="0">
                  <c:v>0.1190380126971716</c:v>
                </c:pt>
                <c:pt idx="1">
                  <c:v>7.3346654288156232E-2</c:v>
                </c:pt>
                <c:pt idx="2">
                  <c:v>6.8537037613523033E-2</c:v>
                </c:pt>
                <c:pt idx="3">
                  <c:v>8.2965887637422617E-2</c:v>
                </c:pt>
                <c:pt idx="4">
                  <c:v>5.7715400095598349E-2</c:v>
                </c:pt>
                <c:pt idx="5">
                  <c:v>7.0941845950839633E-2</c:v>
                </c:pt>
                <c:pt idx="6">
                  <c:v>9.2585120986689015E-2</c:v>
                </c:pt>
                <c:pt idx="7">
                  <c:v>0.15511013775692056</c:v>
                </c:pt>
                <c:pt idx="8">
                  <c:v>0.1947894753226444</c:v>
                </c:pt>
                <c:pt idx="9">
                  <c:v>0.32585152970639902</c:v>
                </c:pt>
                <c:pt idx="10">
                  <c:v>0.394388567319922</c:v>
                </c:pt>
                <c:pt idx="11">
                  <c:v>0.52424821753501838</c:v>
                </c:pt>
                <c:pt idx="12">
                  <c:v>0.49899772999319397</c:v>
                </c:pt>
                <c:pt idx="13">
                  <c:v>0.46893762577673653</c:v>
                </c:pt>
                <c:pt idx="14">
                  <c:v>0.48216407163197783</c:v>
                </c:pt>
                <c:pt idx="15">
                  <c:v>0.54709389673952591</c:v>
                </c:pt>
                <c:pt idx="16">
                  <c:v>0.72144250119497932</c:v>
                </c:pt>
                <c:pt idx="17">
                  <c:v>1.0244483516968705</c:v>
                </c:pt>
                <c:pt idx="18">
                  <c:v>1.4392777898839837</c:v>
                </c:pt>
                <c:pt idx="19">
                  <c:v>1.8961913739741372</c:v>
                </c:pt>
                <c:pt idx="20">
                  <c:v>2.3795578497747734</c:v>
                </c:pt>
                <c:pt idx="21">
                  <c:v>2.980759934103923</c:v>
                </c:pt>
                <c:pt idx="22">
                  <c:v>3.3931845639537195</c:v>
                </c:pt>
                <c:pt idx="23">
                  <c:v>3.1707397927519336</c:v>
                </c:pt>
                <c:pt idx="24">
                  <c:v>3.0024032091397723</c:v>
                </c:pt>
                <c:pt idx="25">
                  <c:v>2.4348684415330553</c:v>
                </c:pt>
                <c:pt idx="26">
                  <c:v>1.8829649281188958</c:v>
                </c:pt>
                <c:pt idx="27">
                  <c:v>1.4669330857631246</c:v>
                </c:pt>
                <c:pt idx="28">
                  <c:v>1.118235876852218</c:v>
                </c:pt>
                <c:pt idx="29">
                  <c:v>1.025650755865529</c:v>
                </c:pt>
                <c:pt idx="30">
                  <c:v>1.0376747975521119</c:v>
                </c:pt>
                <c:pt idx="31">
                  <c:v>1.2456907187299975</c:v>
                </c:pt>
                <c:pt idx="32">
                  <c:v>1.5090172316661652</c:v>
                </c:pt>
                <c:pt idx="33">
                  <c:v>1.7519028737351416</c:v>
                </c:pt>
                <c:pt idx="34">
                  <c:v>1.6557105402424774</c:v>
                </c:pt>
                <c:pt idx="35">
                  <c:v>1.6064119693274874</c:v>
                </c:pt>
                <c:pt idx="36">
                  <c:v>1.476552319112391</c:v>
                </c:pt>
                <c:pt idx="37">
                  <c:v>1.4633258732571497</c:v>
                </c:pt>
                <c:pt idx="38">
                  <c:v>1.3887768148003352</c:v>
                </c:pt>
                <c:pt idx="39">
                  <c:v>0.78036030545923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G$2:$G$41</c:f>
              <c:numCache>
                <c:formatCode>General</c:formatCode>
                <c:ptCount val="40"/>
                <c:pt idx="0">
                  <c:v>8.6169333655415153E-2</c:v>
                </c:pt>
                <c:pt idx="1">
                  <c:v>5.7446222436943431E-2</c:v>
                </c:pt>
                <c:pt idx="2">
                  <c:v>5.7446222436943431E-2</c:v>
                </c:pt>
                <c:pt idx="3">
                  <c:v>0.13787093384866425</c:v>
                </c:pt>
                <c:pt idx="4">
                  <c:v>0.16659404506713596</c:v>
                </c:pt>
                <c:pt idx="5">
                  <c:v>0.22978488974777372</c:v>
                </c:pt>
                <c:pt idx="6">
                  <c:v>0.22978488974777372</c:v>
                </c:pt>
                <c:pt idx="7">
                  <c:v>0.25276337872255111</c:v>
                </c:pt>
                <c:pt idx="8">
                  <c:v>0.25276337872255111</c:v>
                </c:pt>
                <c:pt idx="9">
                  <c:v>0.23552951199146807</c:v>
                </c:pt>
                <c:pt idx="10">
                  <c:v>0.183827911798219</c:v>
                </c:pt>
                <c:pt idx="11">
                  <c:v>0.25850800096624543</c:v>
                </c:pt>
                <c:pt idx="12">
                  <c:v>0.20680640077299639</c:v>
                </c:pt>
                <c:pt idx="13">
                  <c:v>0.183827911798219</c:v>
                </c:pt>
                <c:pt idx="14">
                  <c:v>0.12638168936127556</c:v>
                </c:pt>
                <c:pt idx="15">
                  <c:v>0.25276337872255111</c:v>
                </c:pt>
                <c:pt idx="16">
                  <c:v>0.3791450680838267</c:v>
                </c:pt>
                <c:pt idx="17">
                  <c:v>0.55722835763835132</c:v>
                </c:pt>
                <c:pt idx="18">
                  <c:v>0.86169333655415159</c:v>
                </c:pt>
                <c:pt idx="19">
                  <c:v>0.97658578142803831</c:v>
                </c:pt>
                <c:pt idx="20">
                  <c:v>1.3442416050244763</c:v>
                </c:pt>
                <c:pt idx="21">
                  <c:v>2.0048731630493259</c:v>
                </c:pt>
                <c:pt idx="22">
                  <c:v>2.0048731630493259</c:v>
                </c:pt>
                <c:pt idx="23">
                  <c:v>2.5448676539565942</c:v>
                </c:pt>
                <c:pt idx="24">
                  <c:v>2.0335962742677975</c:v>
                </c:pt>
                <c:pt idx="25">
                  <c:v>1.4361555609235859</c:v>
                </c:pt>
                <c:pt idx="26">
                  <c:v>1.3959432052177254</c:v>
                </c:pt>
                <c:pt idx="27">
                  <c:v>0.70084391373070987</c:v>
                </c:pt>
                <c:pt idx="28">
                  <c:v>0.42510204603338148</c:v>
                </c:pt>
                <c:pt idx="29">
                  <c:v>0.30446497891580021</c:v>
                </c:pt>
                <c:pt idx="30">
                  <c:v>0.33893271237796624</c:v>
                </c:pt>
                <c:pt idx="31">
                  <c:v>0.34467733462166061</c:v>
                </c:pt>
                <c:pt idx="32">
                  <c:v>0.41361280154599278</c:v>
                </c:pt>
                <c:pt idx="33">
                  <c:v>0.49978213520140785</c:v>
                </c:pt>
                <c:pt idx="34">
                  <c:v>0.3791450680838267</c:v>
                </c:pt>
                <c:pt idx="35">
                  <c:v>0.33318809013427192</c:v>
                </c:pt>
                <c:pt idx="36">
                  <c:v>0.59169609110051746</c:v>
                </c:pt>
                <c:pt idx="37">
                  <c:v>0.49403751295771353</c:v>
                </c:pt>
                <c:pt idx="38">
                  <c:v>0.59744071334421178</c:v>
                </c:pt>
                <c:pt idx="39">
                  <c:v>0.666376180268543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J$2:$J$41</c:f>
              <c:numCache>
                <c:formatCode>General</c:formatCode>
                <c:ptCount val="40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904793380539367</c:v>
                </c:pt>
                <c:pt idx="28">
                  <c:v>6.7548097327640244</c:v>
                </c:pt>
                <c:pt idx="29">
                  <c:v>4.0491975660133805</c:v>
                </c:pt>
                <c:pt idx="30">
                  <c:v>3.4696117075078865</c:v>
                </c:pt>
                <c:pt idx="31">
                  <c:v>3.7172529379602337</c:v>
                </c:pt>
                <c:pt idx="32">
                  <c:v>4.0307561977882056</c:v>
                </c:pt>
                <c:pt idx="33">
                  <c:v>4.4680800728423504</c:v>
                </c:pt>
                <c:pt idx="34">
                  <c:v>3.9543562437124811</c:v>
                </c:pt>
                <c:pt idx="35">
                  <c:v>3.2483152888057893</c:v>
                </c:pt>
                <c:pt idx="36">
                  <c:v>2.3552261704723243</c:v>
                </c:pt>
                <c:pt idx="37">
                  <c:v>2.0469918729944023</c:v>
                </c:pt>
                <c:pt idx="38">
                  <c:v>1.6017645544151824</c:v>
                </c:pt>
                <c:pt idx="39">
                  <c:v>1.3620267674879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B$2:$B$41</c:f>
              <c:numCache>
                <c:formatCode>General</c:formatCode>
                <c:ptCount val="40"/>
                <c:pt idx="0">
                  <c:v>0.12358073147210266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0.10111150756808399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2691525417635462</c:v>
                </c:pt>
                <c:pt idx="10">
                  <c:v>0.46061909003238261</c:v>
                </c:pt>
                <c:pt idx="11">
                  <c:v>0.75271900078462528</c:v>
                </c:pt>
                <c:pt idx="12">
                  <c:v>0.75271900078462528</c:v>
                </c:pt>
                <c:pt idx="13">
                  <c:v>0.69654594102457867</c:v>
                </c:pt>
                <c:pt idx="14">
                  <c:v>0.69654594102457867</c:v>
                </c:pt>
                <c:pt idx="15">
                  <c:v>0.89876895616074659</c:v>
                </c:pt>
                <c:pt idx="16">
                  <c:v>0.89876895616074659</c:v>
                </c:pt>
                <c:pt idx="17">
                  <c:v>1.1346958071529427</c:v>
                </c:pt>
                <c:pt idx="18">
                  <c:v>1.7863033003694837</c:v>
                </c:pt>
                <c:pt idx="19">
                  <c:v>3.2018644063226596</c:v>
                </c:pt>
                <c:pt idx="20">
                  <c:v>3.6849527202590608</c:v>
                </c:pt>
                <c:pt idx="21">
                  <c:v>4.4826101688517239</c:v>
                </c:pt>
                <c:pt idx="22">
                  <c:v>4.5163140047077519</c:v>
                </c:pt>
                <c:pt idx="23">
                  <c:v>3.7074219441630798</c:v>
                </c:pt>
                <c:pt idx="24">
                  <c:v>2.5502569131061184</c:v>
                </c:pt>
                <c:pt idx="25">
                  <c:v>1.4380303298571946</c:v>
                </c:pt>
                <c:pt idx="26">
                  <c:v>1.1908688669129892</c:v>
                </c:pt>
                <c:pt idx="27">
                  <c:v>0.94370740396878394</c:v>
                </c:pt>
                <c:pt idx="28">
                  <c:v>0.78642283664065327</c:v>
                </c:pt>
                <c:pt idx="29">
                  <c:v>0.87629973225672797</c:v>
                </c:pt>
                <c:pt idx="30">
                  <c:v>1.1571650310569614</c:v>
                </c:pt>
                <c:pt idx="31">
                  <c:v>1.4942033896172413</c:v>
                </c:pt>
                <c:pt idx="32">
                  <c:v>1.9435878676976146</c:v>
                </c:pt>
                <c:pt idx="33">
                  <c:v>2.123341658929764</c:v>
                </c:pt>
                <c:pt idx="34">
                  <c:v>2.3592685099219599</c:v>
                </c:pt>
                <c:pt idx="35">
                  <c:v>2.4266761816340159</c:v>
                </c:pt>
                <c:pt idx="36">
                  <c:v>2.089637823073736</c:v>
                </c:pt>
                <c:pt idx="37">
                  <c:v>2.5502569131061184</c:v>
                </c:pt>
                <c:pt idx="38">
                  <c:v>2.7075414804342492</c:v>
                </c:pt>
                <c:pt idx="39">
                  <c:v>2.3705031218739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L$2:$L$41</c:f>
              <c:numCache>
                <c:formatCode>0.00000</c:formatCode>
                <c:ptCount val="40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  <c:pt idx="33" formatCode="General">
                  <c:v>2.6933569176124106</c:v>
                </c:pt>
                <c:pt idx="34" formatCode="General">
                  <c:v>4.2690623251951809</c:v>
                </c:pt>
                <c:pt idx="35" formatCode="General">
                  <c:v>4.0125521425654282</c:v>
                </c:pt>
                <c:pt idx="36" formatCode="General">
                  <c:v>4.5072503519228091</c:v>
                </c:pt>
                <c:pt idx="37" formatCode="General">
                  <c:v>3.352954530088919</c:v>
                </c:pt>
                <c:pt idx="38" formatCode="General">
                  <c:v>2.9132227884379134</c:v>
                </c:pt>
                <c:pt idx="39" formatCode="General">
                  <c:v>2.7116790735145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41</c:f>
              <c:numCache>
                <c:formatCode>General</c:formatCode>
                <c:ptCount val="40"/>
                <c:pt idx="0">
                  <c:v>0.1880310265560233</c:v>
                </c:pt>
                <c:pt idx="1">
                  <c:v>0.18591831839247247</c:v>
                </c:pt>
                <c:pt idx="2">
                  <c:v>0.35704767964008921</c:v>
                </c:pt>
                <c:pt idx="3">
                  <c:v>0.80071639398576211</c:v>
                </c:pt>
                <c:pt idx="4">
                  <c:v>1.1767784470978087</c:v>
                </c:pt>
                <c:pt idx="5">
                  <c:v>1.4619940491771699</c:v>
                </c:pt>
                <c:pt idx="6">
                  <c:v>1.6838284063500064</c:v>
                </c:pt>
                <c:pt idx="7">
                  <c:v>1.5021355042846356</c:v>
                </c:pt>
                <c:pt idx="8">
                  <c:v>1.3394569756912222</c:v>
                </c:pt>
                <c:pt idx="9">
                  <c:v>1.138749700153894</c:v>
                </c:pt>
                <c:pt idx="10">
                  <c:v>0.88522472052779499</c:v>
                </c:pt>
                <c:pt idx="11">
                  <c:v>0.74367327356988988</c:v>
                </c:pt>
                <c:pt idx="12">
                  <c:v>0.49648641843444352</c:v>
                </c:pt>
                <c:pt idx="13">
                  <c:v>0.3760620531120466</c:v>
                </c:pt>
                <c:pt idx="14">
                  <c:v>0.30211726738776779</c:v>
                </c:pt>
                <c:pt idx="15">
                  <c:v>0.25775039595320048</c:v>
                </c:pt>
                <c:pt idx="16">
                  <c:v>0.24718685513544633</c:v>
                </c:pt>
                <c:pt idx="17">
                  <c:v>0.20704540002798072</c:v>
                </c:pt>
                <c:pt idx="18">
                  <c:v>0.20493269186442992</c:v>
                </c:pt>
                <c:pt idx="19">
                  <c:v>0.3316951816774793</c:v>
                </c:pt>
                <c:pt idx="20">
                  <c:v>0.31479351636907271</c:v>
                </c:pt>
                <c:pt idx="21">
                  <c:v>0.38451288576624992</c:v>
                </c:pt>
                <c:pt idx="22">
                  <c:v>0.5788820368129256</c:v>
                </c:pt>
                <c:pt idx="23">
                  <c:v>0.69930640213532258</c:v>
                </c:pt>
                <c:pt idx="24">
                  <c:v>0.99086012870533613</c:v>
                </c:pt>
                <c:pt idx="25">
                  <c:v>1.1641021981165038</c:v>
                </c:pt>
                <c:pt idx="26">
                  <c:v>1.4514305083594157</c:v>
                </c:pt>
                <c:pt idx="27">
                  <c:v>1.8929865145415379</c:v>
                </c:pt>
                <c:pt idx="28">
                  <c:v>2.6387724962749783</c:v>
                </c:pt>
                <c:pt idx="29">
                  <c:v>3.0824412106206514</c:v>
                </c:pt>
                <c:pt idx="30">
                  <c:v>3.4373761820971898</c:v>
                </c:pt>
                <c:pt idx="31">
                  <c:v>3.3592059800458096</c:v>
                </c:pt>
                <c:pt idx="32">
                  <c:v>2.7908874840506379</c:v>
                </c:pt>
                <c:pt idx="33">
                  <c:v>1.857070475761174</c:v>
                </c:pt>
                <c:pt idx="34">
                  <c:v>1.2887519797660023</c:v>
                </c:pt>
                <c:pt idx="35">
                  <c:v>1.0584667899389626</c:v>
                </c:pt>
                <c:pt idx="36">
                  <c:v>0.86621034705583755</c:v>
                </c:pt>
                <c:pt idx="37">
                  <c:v>0.60845995110263718</c:v>
                </c:pt>
                <c:pt idx="38">
                  <c:v>0.3338078898410301</c:v>
                </c:pt>
                <c:pt idx="39">
                  <c:v>1.901437347195741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41</c:f>
              <c:strCache>
                <c:ptCount val="40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  <c:pt idx="33">
                  <c:v>7. týden</c:v>
                </c:pt>
                <c:pt idx="34">
                  <c:v>8. týden</c:v>
                </c:pt>
                <c:pt idx="35">
                  <c:v>9. týden</c:v>
                </c:pt>
                <c:pt idx="36">
                  <c:v>10. týden</c:v>
                </c:pt>
                <c:pt idx="37">
                  <c:v>11. týden</c:v>
                </c:pt>
                <c:pt idx="38">
                  <c:v>12. týden</c:v>
                </c:pt>
                <c:pt idx="39">
                  <c:v>13. týden</c:v>
                </c:pt>
              </c:strCache>
            </c:strRef>
          </c:cat>
          <c:val>
            <c:numRef>
              <c:f>List1!$H$2:$H$41</c:f>
              <c:numCache>
                <c:formatCode>General</c:formatCode>
                <c:ptCount val="40"/>
                <c:pt idx="0">
                  <c:v>0.24831081426067519</c:v>
                </c:pt>
                <c:pt idx="1">
                  <c:v>0.37760875304729896</c:v>
                </c:pt>
                <c:pt idx="2">
                  <c:v>0.52306893418225076</c:v>
                </c:pt>
                <c:pt idx="3">
                  <c:v>0.73464737946945324</c:v>
                </c:pt>
                <c:pt idx="4">
                  <c:v>0.893331213434855</c:v>
                </c:pt>
                <c:pt idx="5">
                  <c:v>0.89039262391697738</c:v>
                </c:pt>
                <c:pt idx="6">
                  <c:v>0.95063370903347244</c:v>
                </c:pt>
                <c:pt idx="7">
                  <c:v>1.0960938901684243</c:v>
                </c:pt>
                <c:pt idx="8">
                  <c:v>1.2180453551603534</c:v>
                </c:pt>
                <c:pt idx="9">
                  <c:v>1.335588935875466</c:v>
                </c:pt>
                <c:pt idx="10">
                  <c:v>1.5104350121891958</c:v>
                </c:pt>
                <c:pt idx="11">
                  <c:v>1.4487246323137617</c:v>
                </c:pt>
                <c:pt idx="12">
                  <c:v>1.3150188092503212</c:v>
                </c:pt>
                <c:pt idx="13">
                  <c:v>1.1710279228743086</c:v>
                </c:pt>
                <c:pt idx="14">
                  <c:v>1.148988501490225</c:v>
                </c:pt>
                <c:pt idx="15">
                  <c:v>1.337058230634405</c:v>
                </c:pt>
                <c:pt idx="16">
                  <c:v>1.4972113593587457</c:v>
                </c:pt>
                <c:pt idx="17">
                  <c:v>1.7322985207889707</c:v>
                </c:pt>
                <c:pt idx="18">
                  <c:v>1.6867503832618647</c:v>
                </c:pt>
                <c:pt idx="19">
                  <c:v>1.4766412327336012</c:v>
                </c:pt>
                <c:pt idx="20">
                  <c:v>1.3914221367151445</c:v>
                </c:pt>
                <c:pt idx="21">
                  <c:v>1.2797557350357875</c:v>
                </c:pt>
                <c:pt idx="22">
                  <c:v>1.2283304184729258</c:v>
                </c:pt>
                <c:pt idx="23">
                  <c:v>1.1960059337762698</c:v>
                </c:pt>
                <c:pt idx="24">
                  <c:v>1.1519270910081025</c:v>
                </c:pt>
                <c:pt idx="25">
                  <c:v>1.2062909970888422</c:v>
                </c:pt>
                <c:pt idx="27">
                  <c:v>2.3640952671327007</c:v>
                </c:pt>
                <c:pt idx="28">
                  <c:v>2.8166380528858839</c:v>
                </c:pt>
                <c:pt idx="29">
                  <c:v>2.7152567145190991</c:v>
                </c:pt>
                <c:pt idx="30">
                  <c:v>1.7837238373518325</c:v>
                </c:pt>
                <c:pt idx="31">
                  <c:v>2.1657404746759479</c:v>
                </c:pt>
                <c:pt idx="32">
                  <c:v>1.8909823547543727</c:v>
                </c:pt>
                <c:pt idx="33">
                  <c:v>1.4340316847243728</c:v>
                </c:pt>
                <c:pt idx="34">
                  <c:v>1.1460499119723471</c:v>
                </c:pt>
                <c:pt idx="35">
                  <c:v>1.1548656805259805</c:v>
                </c:pt>
                <c:pt idx="36">
                  <c:v>1.3693827153310609</c:v>
                </c:pt>
                <c:pt idx="37">
                  <c:v>0.86247602349713814</c:v>
                </c:pt>
                <c:pt idx="38">
                  <c:v>1.1578042700438582</c:v>
                </c:pt>
                <c:pt idx="39">
                  <c:v>1.9482848503529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0.04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0.04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2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chart" Target="../charts/chart7.xml"/><Relationship Id="rId4" Type="http://schemas.openxmlformats.org/officeDocument/2006/relationships/tags" Target="../tags/tag42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chart" Target="../charts/chart8.xml"/><Relationship Id="rId4" Type="http://schemas.openxmlformats.org/officeDocument/2006/relationships/tags" Target="../tags/tag62.xml"/><Relationship Id="rId9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10" Type="http://schemas.openxmlformats.org/officeDocument/2006/relationships/chart" Target="../charts/chart9.xml"/><Relationship Id="rId4" Type="http://schemas.openxmlformats.org/officeDocument/2006/relationships/tags" Target="../tags/tag69.xml"/><Relationship Id="rId9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0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79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1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chart" Target="../charts/chart1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chart" Target="../charts/chart2.xml"/><Relationship Id="rId4" Type="http://schemas.openxmlformats.org/officeDocument/2006/relationships/tags" Target="../tags/tag9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chart" Target="../charts/chart3.xml"/><Relationship Id="rId4" Type="http://schemas.openxmlformats.org/officeDocument/2006/relationships/tags" Target="../tags/tag16.xml"/><Relationship Id="rId9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86639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3.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3.4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13. týden roku 2022, a proto nebyla tato země do analýzy zahrnuta. </a:t>
            </a:r>
            <a:endParaRPr lang="cs-CZ" sz="1100" dirty="0">
              <a:solidFill>
                <a:schemeClr val="tx1"/>
              </a:solidFill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461814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20154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12. týdnu (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1</a:t>
            </a:r>
            <a:r>
              <a:rPr lang="cs-CZ" sz="1600" dirty="0">
                <a:solidFill>
                  <a:srgbClr val="000000"/>
                </a:solidFill>
              </a:rPr>
              <a:t>.3.—27.3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 13. 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</a:p>
          <a:p>
            <a:pPr lvl="0" algn="ctr">
              <a:defRPr/>
            </a:pPr>
            <a:r>
              <a:rPr lang="cs-CZ" sz="1600" dirty="0">
                <a:solidFill>
                  <a:srgbClr val="000000"/>
                </a:solidFill>
              </a:rPr>
              <a:t>(28.3.—3.4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13. týden roku 2022, a proto nebyla tato země do analýzy zahrnuta. </a:t>
            </a:r>
            <a:endParaRPr lang="cs-CZ" sz="1100" dirty="0">
              <a:solidFill>
                <a:schemeClr val="tx1"/>
              </a:solidFill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4500231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7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13515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80758" y="414016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375023" y="452722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81374" y="500073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381962" y="433464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3.4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7.4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44014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8878019"/>
              </p:ext>
            </p:extLst>
          </p:nvPr>
        </p:nvGraphicFramePr>
        <p:xfrm>
          <a:off x="6250375" y="757705"/>
          <a:ext cx="5400000" cy="52883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3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7399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116404"/>
              </p:ext>
            </p:extLst>
          </p:nvPr>
        </p:nvGraphicFramePr>
        <p:xfrm>
          <a:off x="6250375" y="757703"/>
          <a:ext cx="5400000" cy="52884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3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7.4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55959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481293"/>
              </p:ext>
            </p:extLst>
          </p:nvPr>
        </p:nvGraphicFramePr>
        <p:xfrm>
          <a:off x="6250375" y="757703"/>
          <a:ext cx="5400000" cy="52883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34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179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7.4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900779"/>
              </p:ext>
            </p:extLst>
          </p:nvPr>
        </p:nvGraphicFramePr>
        <p:xfrm>
          <a:off x="1058400" y="1003026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2379" y="47257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0568" y="490234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527543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0976" y="507954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3. týdne roku 2022 (28.3.—3.4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163038"/>
              </p:ext>
            </p:extLst>
          </p:nvPr>
        </p:nvGraphicFramePr>
        <p:xfrm>
          <a:off x="1058400" y="978087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41980" y="476937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49903" y="495558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58211" y="51293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42880" y="531051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3. týdne roku 2022 (28.3.—3.4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81863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3.4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442126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96175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6.4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sp>
        <p:nvSpPr>
          <p:cNvPr id="15" name="Obdélník 14"/>
          <p:cNvSpPr/>
          <p:nvPr>
            <p:custDataLst>
              <p:tags r:id="rId5"/>
            </p:custDataLst>
          </p:nvPr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277757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6.4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344265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6.4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3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990551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6.4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73731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7244653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3926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6.4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044197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767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6.4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,6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7.4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6.4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4597937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>
            <p:custDataLst>
              <p:tags r:id="rId4"/>
            </p:custDataLst>
          </p:nvPr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20.3. 2022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3.4. 202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59767915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6056408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06282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3. týdne roku 2022 (28.3.—3.4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7472" y="464853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93669" y="523285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93822" y="541673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85509" y="503532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492721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3. týdne roku 2022 (28.3.—3.4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476476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30" y="513310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77196" y="530786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52146" y="496249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11. týdnu vs. 10. týdnu a 13. týdnu vs. 12. týdnu roku 2022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2245789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3535841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141185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8.2. 2022—3.4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4 7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9 37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0 2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 07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68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36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19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 10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73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21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90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60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14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31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97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28.2. 2022 do 3.4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2496782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8.2. 2022—3.4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40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2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4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12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900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7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5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3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4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67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4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77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6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8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5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7.4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10928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13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22980</TotalTime>
  <Words>2987</Words>
  <Application>Microsoft Office PowerPoint</Application>
  <PresentationFormat>Širokoúhlá obrazovka</PresentationFormat>
  <Paragraphs>957</Paragraphs>
  <Slides>25</Slides>
  <Notes>2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5</vt:i4>
      </vt:variant>
    </vt:vector>
  </HeadingPairs>
  <TitlesOfParts>
    <vt:vector size="29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  od 28.2. 2022 do 3.4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378</cp:revision>
  <dcterms:created xsi:type="dcterms:W3CDTF">2020-11-14T13:18:43Z</dcterms:created>
  <dcterms:modified xsi:type="dcterms:W3CDTF">2022-04-10T20:30:39Z</dcterms:modified>
</cp:coreProperties>
</file>